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1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1"/>
  </p:notesMasterIdLst>
  <p:sldIdLst>
    <p:sldId id="407" r:id="rId2"/>
    <p:sldId id="453" r:id="rId3"/>
    <p:sldId id="408" r:id="rId4"/>
    <p:sldId id="400" r:id="rId5"/>
    <p:sldId id="409" r:id="rId6"/>
    <p:sldId id="410" r:id="rId7"/>
    <p:sldId id="412" r:id="rId8"/>
    <p:sldId id="413" r:id="rId9"/>
    <p:sldId id="456" r:id="rId10"/>
    <p:sldId id="446" r:id="rId11"/>
    <p:sldId id="447" r:id="rId12"/>
    <p:sldId id="457" r:id="rId13"/>
    <p:sldId id="458" r:id="rId14"/>
    <p:sldId id="442" r:id="rId15"/>
    <p:sldId id="443" r:id="rId16"/>
    <p:sldId id="444" r:id="rId17"/>
    <p:sldId id="445" r:id="rId18"/>
    <p:sldId id="417" r:id="rId19"/>
    <p:sldId id="418" r:id="rId20"/>
    <p:sldId id="419" r:id="rId21"/>
    <p:sldId id="420" r:id="rId22"/>
    <p:sldId id="421" r:id="rId23"/>
    <p:sldId id="422" r:id="rId24"/>
    <p:sldId id="423" r:id="rId25"/>
    <p:sldId id="424" r:id="rId26"/>
    <p:sldId id="425" r:id="rId27"/>
    <p:sldId id="460" r:id="rId28"/>
    <p:sldId id="451" r:id="rId29"/>
    <p:sldId id="438" r:id="rId30"/>
    <p:sldId id="450" r:id="rId31"/>
    <p:sldId id="285" r:id="rId32"/>
    <p:sldId id="436" r:id="rId33"/>
    <p:sldId id="416" r:id="rId34"/>
    <p:sldId id="452" r:id="rId35"/>
    <p:sldId id="461" r:id="rId36"/>
    <p:sldId id="462" r:id="rId37"/>
    <p:sldId id="463" r:id="rId38"/>
    <p:sldId id="464" r:id="rId39"/>
    <p:sldId id="433" r:id="rId40"/>
  </p:sldIdLst>
  <p:sldSz cx="12192000" cy="6858000"/>
  <p:notesSz cx="6792913" cy="99250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5597"/>
    <a:srgbClr val="3A5D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35" autoAdjust="0"/>
    <p:restoredTop sz="93372" autoAdjust="0"/>
  </p:normalViewPr>
  <p:slideViewPr>
    <p:cSldViewPr snapToGrid="0">
      <p:cViewPr varScale="1">
        <p:scale>
          <a:sx n="104" d="100"/>
          <a:sy n="104" d="100"/>
        </p:scale>
        <p:origin x="73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.orlov\Desktop\&#1055;&#1088;&#1077;&#1079;&#1077;&#1085;&#1090;&#1072;&#1094;&#1080;&#1103;\&#1054;&#1076;&#1085;&#1086;&#1089;&#1090;&#1088;&#1072;&#1085;&#1080;&#1095;&#1085;&#1080;&#1082;%20&#1044;&#1054;&#1053;&#1080;&#1052;&#1062;%20&#1055;&#1040;%20&#1079;&#1072;%202023&#1075;%20&#1085;&#1086;&#1074;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.orlov\Desktop\&#1055;&#1088;&#1077;&#1079;&#1077;&#1085;&#1090;&#1072;&#1094;&#1080;&#1103;\&#1054;&#1076;&#1085;&#1086;&#1089;&#1090;&#1088;&#1072;&#1085;&#1080;&#1095;&#1085;&#1080;&#1082;%20&#1044;&#1054;&#1053;&#1080;&#1052;&#1062;%20&#1055;&#1040;%20&#1079;&#1072;%202023&#1075;%20&#1085;&#1086;&#1074;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.orlov\Desktop\&#1055;&#1088;&#1077;&#1079;&#1077;&#1085;&#1090;&#1072;&#1094;&#1080;&#1103;\&#1054;&#1076;&#1085;&#1086;&#1089;&#1090;&#1088;&#1072;&#1085;&#1080;&#1095;&#1085;&#1080;&#1082;%20&#1044;&#1054;&#1053;&#1080;&#1052;&#1062;%20&#1055;&#1040;%20&#1079;&#1072;%202023&#1075;%20&#1085;&#1086;&#1074;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.orlov\Desktop\&#1055;&#1088;&#1077;&#1079;&#1077;&#1085;&#1090;&#1072;&#1094;&#1080;&#1103;\&#1054;&#1076;&#1085;&#1086;&#1089;&#1090;&#1088;&#1072;&#1085;&#1080;&#1095;&#1085;&#1080;&#1082;%20&#1044;&#1054;&#1053;&#1080;&#1052;&#1062;%20&#1055;&#1040;%20&#1079;&#1072;%202023&#1075;%20&#1085;&#1086;&#1074;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\\PNHZV01\dbase\&#1044;&#1054;&#1053;&#1080;&#1052;&#1062;\008%20&#1054;&#1076;&#1085;&#1086;&#1089;&#1090;&#1088;&#1072;&#1085;&#1080;&#1095;&#1085;&#1080;&#1082;%20&#1044;&#1054;&#1053;&#1080;&#1052;&#1062;%20&#1055;&#1040;\&#1054;&#1076;&#1085;&#1086;&#1089;&#1090;&#1088;&#1072;&#1085;&#1080;&#1095;&#1085;&#1080;&#1082;%202023&#1075;\&#1054;&#1076;&#1085;&#1086;&#1089;&#1090;&#1088;&#1072;&#1085;&#1080;&#1095;&#1085;&#1080;&#1082;%20&#1044;&#1054;&#1053;&#1080;&#1052;&#1062;%20&#1055;&#1040;%20&#1079;&#1072;%202023&#1075;%20&#1085;&#1086;&#1074;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634905485299186E-2"/>
          <c:y val="0.17171296296296298"/>
          <c:w val="0.66797462817147857"/>
          <c:h val="0.7208876494604841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5D6-45C1-B574-5F9538C3ADA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5D6-45C1-B574-5F9538C3ADA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ln>
                      <a:noFill/>
                    </a:ln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'6. Расходы на ремонты'!$C$59:$D$59</c:f>
              <c:numCache>
                <c:formatCode>General</c:formatCode>
                <c:ptCount val="2"/>
                <c:pt idx="0">
                  <c:v>236</c:v>
                </c:pt>
                <c:pt idx="1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5D6-45C1-B574-5F9538C3ADA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825449216"/>
        <c:axId val="825449544"/>
      </c:barChart>
      <c:catAx>
        <c:axId val="825449216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cap="all" spc="12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25449544"/>
        <c:crosses val="autoZero"/>
        <c:auto val="1"/>
        <c:lblAlgn val="ctr"/>
        <c:lblOffset val="100"/>
        <c:noMultiLvlLbl val="0"/>
      </c:catAx>
      <c:valAx>
        <c:axId val="82544954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825449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9525" cap="flat" cmpd="sng" algn="ctr">
      <a:noFill/>
      <a:round/>
    </a:ln>
    <a:effectLst/>
  </c:spPr>
  <c:txPr>
    <a:bodyPr/>
    <a:lstStyle/>
    <a:p>
      <a:pPr>
        <a:defRPr>
          <a:ln>
            <a:noFill/>
          </a:ln>
        </a:defRPr>
      </a:pPr>
      <a:endParaRPr lang="ru-RU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12790498025471E-2"/>
          <c:y val="0"/>
          <c:w val="0.95666577374600614"/>
          <c:h val="0.6298477002720864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D3E1E3E3-82D9-4C2A-8F73-AE741DF3F924}" type="VALUE">
                      <a:rPr lang="en-US" smtClean="0"/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0552-4820-AC54-18572BFD48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переезд по РК</c:v>
                </c:pt>
                <c:pt idx="1">
                  <c:v>переезд в РФ</c:v>
                </c:pt>
                <c:pt idx="2">
                  <c:v>выезд в дальнее зарубежье</c:v>
                </c:pt>
                <c:pt idx="3">
                  <c:v>выход на пенсию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0</c:v>
                </c:pt>
                <c:pt idx="1">
                  <c:v>11</c:v>
                </c:pt>
                <c:pt idx="2">
                  <c:v>2</c:v>
                </c:pt>
                <c:pt idx="3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52-4820-AC54-18572BFD48F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переезд по РК</c:v>
                </c:pt>
                <c:pt idx="1">
                  <c:v>переезд в РФ</c:v>
                </c:pt>
                <c:pt idx="2">
                  <c:v>выезд в дальнее зарубежье</c:v>
                </c:pt>
                <c:pt idx="3">
                  <c:v>выход на пенсию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10</c:v>
                </c:pt>
                <c:pt idx="1">
                  <c:v>10</c:v>
                </c:pt>
                <c:pt idx="2">
                  <c:v>4</c:v>
                </c:pt>
                <c:pt idx="3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552-4820-AC54-18572BFD48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89047576"/>
        <c:axId val="589049872"/>
      </c:barChart>
      <c:catAx>
        <c:axId val="589047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2F5597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589049872"/>
        <c:crosses val="autoZero"/>
        <c:auto val="1"/>
        <c:lblAlgn val="ctr"/>
        <c:lblOffset val="100"/>
        <c:noMultiLvlLbl val="0"/>
      </c:catAx>
      <c:valAx>
        <c:axId val="589049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890475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744901879841168"/>
          <c:y val="0.86824054959193753"/>
          <c:w val="0.45852814269306352"/>
          <c:h val="0.1297271824462977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latin typeface="Century Gothic" panose="020B0502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400" b="1" dirty="0">
                <a:solidFill>
                  <a:srgbClr val="002060"/>
                </a:solidFill>
              </a:rPr>
              <a:t>Нарушения по структурным </a:t>
            </a:r>
            <a:r>
              <a:rPr lang="ru-RU" sz="1400" b="1" dirty="0" smtClean="0">
                <a:solidFill>
                  <a:srgbClr val="002060"/>
                </a:solidFill>
              </a:rPr>
              <a:t>подразделениям  </a:t>
            </a:r>
            <a:r>
              <a:rPr lang="ru-RU" sz="1400" b="1" dirty="0">
                <a:solidFill>
                  <a:srgbClr val="002060"/>
                </a:solidFill>
              </a:rPr>
              <a:t>за </a:t>
            </a:r>
            <a:r>
              <a:rPr lang="ru-RU" sz="1400" b="1" dirty="0" smtClean="0">
                <a:solidFill>
                  <a:srgbClr val="002060"/>
                </a:solidFill>
              </a:rPr>
              <a:t>2021-2023 </a:t>
            </a:r>
            <a:r>
              <a:rPr lang="ru-RU" sz="1400" b="1" dirty="0">
                <a:solidFill>
                  <a:srgbClr val="002060"/>
                </a:solidFill>
              </a:rPr>
              <a:t>гг.</a:t>
            </a:r>
          </a:p>
        </c:rich>
      </c:tx>
      <c:layout>
        <c:manualLayout>
          <c:xMode val="edge"/>
          <c:yMode val="edge"/>
          <c:x val="0.17481455936563559"/>
          <c:y val="2.771997055009634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rgbClr val="00206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8.7679406515625141E-2"/>
          <c:y val="0.25497583659942202"/>
          <c:w val="0.91232058364266877"/>
          <c:h val="0.529065197709009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0</c:f>
              <c:strCache>
                <c:ptCount val="9"/>
                <c:pt idx="0">
                  <c:v>ПППН</c:v>
                </c:pt>
                <c:pt idx="1">
                  <c:v>ПКОН</c:v>
                </c:pt>
                <c:pt idx="2">
                  <c:v>ППТНО</c:v>
                </c:pt>
                <c:pt idx="3">
                  <c:v>ПСиОЗХ</c:v>
                </c:pt>
                <c:pt idx="4">
                  <c:v>ПСН</c:v>
                </c:pt>
                <c:pt idx="5">
                  <c:v>ЦОПП</c:v>
                </c:pt>
                <c:pt idx="6">
                  <c:v>ЦКИПиА</c:v>
                </c:pt>
                <c:pt idx="7">
                  <c:v>ЦА</c:v>
                </c:pt>
                <c:pt idx="8">
                  <c:v>ЗУ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7</c:v>
                </c:pt>
                <c:pt idx="1">
                  <c:v>2</c:v>
                </c:pt>
                <c:pt idx="2">
                  <c:v>1</c:v>
                </c:pt>
                <c:pt idx="3">
                  <c:v>0</c:v>
                </c:pt>
                <c:pt idx="4">
                  <c:v>3</c:v>
                </c:pt>
                <c:pt idx="5">
                  <c:v>0</c:v>
                </c:pt>
                <c:pt idx="6">
                  <c:v>0</c:v>
                </c:pt>
                <c:pt idx="7">
                  <c:v>3</c:v>
                </c:pt>
                <c:pt idx="8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34-48C5-B8BA-F8247DC1596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0</c:f>
              <c:strCache>
                <c:ptCount val="9"/>
                <c:pt idx="0">
                  <c:v>ПППН</c:v>
                </c:pt>
                <c:pt idx="1">
                  <c:v>ПКОН</c:v>
                </c:pt>
                <c:pt idx="2">
                  <c:v>ППТНО</c:v>
                </c:pt>
                <c:pt idx="3">
                  <c:v>ПСиОЗХ</c:v>
                </c:pt>
                <c:pt idx="4">
                  <c:v>ПСН</c:v>
                </c:pt>
                <c:pt idx="5">
                  <c:v>ЦОПП</c:v>
                </c:pt>
                <c:pt idx="6">
                  <c:v>ЦКИПиА</c:v>
                </c:pt>
                <c:pt idx="7">
                  <c:v>ЦА</c:v>
                </c:pt>
                <c:pt idx="8">
                  <c:v>ЗУ</c:v>
                </c:pt>
              </c:strCache>
            </c:strRef>
          </c:cat>
          <c:val>
            <c:numRef>
              <c:f>Лист1!$C$2:$C$10</c:f>
              <c:numCache>
                <c:formatCode>General</c:formatCode>
                <c:ptCount val="9"/>
                <c:pt idx="0">
                  <c:v>2</c:v>
                </c:pt>
                <c:pt idx="1">
                  <c:v>5</c:v>
                </c:pt>
                <c:pt idx="2">
                  <c:v>0</c:v>
                </c:pt>
                <c:pt idx="3">
                  <c:v>6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6</c:v>
                </c:pt>
                <c:pt idx="8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34-48C5-B8BA-F8247DC1596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0</c:f>
              <c:strCache>
                <c:ptCount val="9"/>
                <c:pt idx="0">
                  <c:v>ПППН</c:v>
                </c:pt>
                <c:pt idx="1">
                  <c:v>ПКОН</c:v>
                </c:pt>
                <c:pt idx="2">
                  <c:v>ППТНО</c:v>
                </c:pt>
                <c:pt idx="3">
                  <c:v>ПСиОЗХ</c:v>
                </c:pt>
                <c:pt idx="4">
                  <c:v>ПСН</c:v>
                </c:pt>
                <c:pt idx="5">
                  <c:v>ЦОПП</c:v>
                </c:pt>
                <c:pt idx="6">
                  <c:v>ЦКИПиА</c:v>
                </c:pt>
                <c:pt idx="7">
                  <c:v>ЦА</c:v>
                </c:pt>
                <c:pt idx="8">
                  <c:v>ЗУ</c:v>
                </c:pt>
              </c:strCache>
            </c:strRef>
          </c:cat>
          <c:val>
            <c:numRef>
              <c:f>Лист1!$D$2:$D$10</c:f>
              <c:numCache>
                <c:formatCode>General</c:formatCode>
                <c:ptCount val="9"/>
                <c:pt idx="1">
                  <c:v>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3</c:v>
                </c:pt>
                <c:pt idx="6">
                  <c:v>1</c:v>
                </c:pt>
                <c:pt idx="7">
                  <c:v>6</c:v>
                </c:pt>
                <c:pt idx="8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977-41C7-BB4D-BBE73E6F05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7503104"/>
        <c:axId val="77513088"/>
      </c:barChart>
      <c:catAx>
        <c:axId val="77503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2F5597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77513088"/>
        <c:crosses val="autoZero"/>
        <c:auto val="1"/>
        <c:lblAlgn val="ctr"/>
        <c:lblOffset val="100"/>
        <c:noMultiLvlLbl val="0"/>
      </c:catAx>
      <c:valAx>
        <c:axId val="775130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775031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latin typeface="Century Gothic" panose="020B0502020202020204" pitchFamily="34" charset="0"/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634905485299186E-2"/>
          <c:y val="4.6712962962962977E-2"/>
          <c:w val="0.66797462817147857"/>
          <c:h val="0.7208876494604841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F60-4727-AC36-9E4F1284FDC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F60-4727-AC36-9E4F1284FDC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ln>
                      <a:noFill/>
                    </a:ln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6. Расходы на ремонты'!$F$58:$G$58</c:f>
              <c:strCache>
                <c:ptCount val="2"/>
                <c:pt idx="0">
                  <c:v>Кол-во ремонтов по графикам ТО, шт.</c:v>
                </c:pt>
                <c:pt idx="1">
                  <c:v>Факт. кол-во ремонтов по тех. сост-ию, шт.</c:v>
                </c:pt>
              </c:strCache>
            </c:strRef>
          </c:cat>
          <c:val>
            <c:numRef>
              <c:f>'6. Расходы на ремонты'!$F$59:$G$59</c:f>
              <c:numCache>
                <c:formatCode>General</c:formatCode>
                <c:ptCount val="2"/>
                <c:pt idx="0" formatCode="#\ ##0.0\ [$₸-43F]">
                  <c:v>247</c:v>
                </c:pt>
                <c:pt idx="1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F60-4727-AC36-9E4F1284FDC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825449216"/>
        <c:axId val="825449544"/>
      </c:barChart>
      <c:catAx>
        <c:axId val="825449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cap="all" spc="120" normalizeH="0" baseline="0">
                <a:ln>
                  <a:noFill/>
                </a:ln>
                <a:noFill/>
                <a:latin typeface="+mn-lt"/>
                <a:ea typeface="+mn-ea"/>
                <a:cs typeface="+mn-cs"/>
              </a:defRPr>
            </a:pPr>
            <a:endParaRPr lang="ru-RU"/>
          </a:p>
        </c:txPr>
        <c:crossAx val="825449544"/>
        <c:crosses val="autoZero"/>
        <c:auto val="1"/>
        <c:lblAlgn val="ctr"/>
        <c:lblOffset val="1"/>
        <c:noMultiLvlLbl val="0"/>
      </c:catAx>
      <c:valAx>
        <c:axId val="825449544"/>
        <c:scaling>
          <c:orientation val="minMax"/>
        </c:scaling>
        <c:delete val="1"/>
        <c:axPos val="l"/>
        <c:numFmt formatCode="#\ ##0.0\ [$₸-43F]" sourceLinked="1"/>
        <c:majorTickMark val="out"/>
        <c:minorTickMark val="none"/>
        <c:tickLblPos val="nextTo"/>
        <c:crossAx val="8254492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8197903765429116E-2"/>
          <c:y val="0.78526289217365053"/>
          <c:w val="0.88488361585314612"/>
          <c:h val="0.204294355692471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noFill/>
      <a:round/>
    </a:ln>
    <a:effectLst/>
  </c:spPr>
  <c:txPr>
    <a:bodyPr/>
    <a:lstStyle/>
    <a:p>
      <a:pPr>
        <a:defRPr>
          <a:ln>
            <a:noFill/>
          </a:ln>
        </a:defRPr>
      </a:pPr>
      <a:endParaRPr lang="ru-RU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AF4-4D0C-B5AE-628C4146C01A}"/>
              </c:ext>
            </c:extLst>
          </c:dPt>
          <c:dPt>
            <c:idx val="1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AF4-4D0C-B5AE-628C4146C01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val>
            <c:numRef>
              <c:f>'6. Расходы на ремонты'!$D$60:$E$60</c:f>
              <c:numCache>
                <c:formatCode>#\ ##0\ [$₸-43F]</c:formatCode>
                <c:ptCount val="2"/>
                <c:pt idx="0">
                  <c:v>93</c:v>
                </c:pt>
                <c:pt idx="1">
                  <c:v>2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AF4-4D0C-B5AE-628C4146C0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224581558452734"/>
          <c:y val="2.4539877300613498E-2"/>
          <c:w val="0.52731164751946991"/>
          <c:h val="0.78934995088804083"/>
        </c:manualLayout>
      </c:layout>
      <c:pieChart>
        <c:varyColors val="1"/>
        <c:ser>
          <c:idx val="0"/>
          <c:order val="0"/>
          <c:spPr>
            <a:solidFill>
              <a:schemeClr val="accent6">
                <a:lumMod val="40000"/>
                <a:lumOff val="60000"/>
              </a:schemeClr>
            </a:solidFill>
          </c:spPr>
          <c:dPt>
            <c:idx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59C-44D8-A0E9-FD0DD550A09A}"/>
              </c:ext>
            </c:extLst>
          </c:dPt>
          <c:dPt>
            <c:idx val="1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59C-44D8-A0E9-FD0DD550A09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6. Расходы на ремонты'!$G$61:$H$61</c:f>
              <c:strCache>
                <c:ptCount val="2"/>
                <c:pt idx="0">
                  <c:v>Факт. расходы на ремонты по тех.сост-ию, млн.тг.</c:v>
                </c:pt>
                <c:pt idx="1">
                  <c:v>Экономия, млн.тг.</c:v>
                </c:pt>
              </c:strCache>
            </c:strRef>
          </c:cat>
          <c:val>
            <c:numRef>
              <c:f>'6. Расходы на ремонты'!$G$60:$H$60</c:f>
              <c:numCache>
                <c:formatCode>#\ ##0.0\ [$₸-43F]</c:formatCode>
                <c:ptCount val="2"/>
                <c:pt idx="0">
                  <c:v>18</c:v>
                </c:pt>
                <c:pt idx="1">
                  <c:v>56.0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59C-44D8-A0E9-FD0DD550A09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3264919753883223E-3"/>
          <c:y val="0.83433972593916561"/>
          <c:w val="0.99081149692354031"/>
          <c:h val="0.16566027406083442"/>
        </c:manualLayout>
      </c:layout>
      <c:overlay val="0"/>
      <c:spPr>
        <a:noFill/>
        <a:ln>
          <a:solidFill>
            <a:srgbClr val="002060"/>
          </a:solidFill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403874712766513E-2"/>
          <c:y val="8.1291757456817534E-2"/>
          <c:w val="0.91762153586656325"/>
          <c:h val="0.7103607796168295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5. Управление коррозией'!$R$4</c:f>
              <c:strCache>
                <c:ptCount val="1"/>
                <c:pt idx="0">
                  <c:v>ПППН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1.8273186731537295E-3"/>
                  <c:y val="1.2863992752406319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9913-4429-BADC-0AE072869E9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5. Управление коррозией'!$S$3:$W$3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'5. Управление коррозией'!$S$4:$W$4</c:f>
              <c:numCache>
                <c:formatCode>0;\-0;;@</c:formatCode>
                <c:ptCount val="5"/>
                <c:pt idx="0">
                  <c:v>2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913-4429-BADC-0AE072869E94}"/>
            </c:ext>
          </c:extLst>
        </c:ser>
        <c:ser>
          <c:idx val="1"/>
          <c:order val="1"/>
          <c:tx>
            <c:strRef>
              <c:f>'5. Управление коррозией'!$R$5</c:f>
              <c:strCache>
                <c:ptCount val="1"/>
                <c:pt idx="0">
                  <c:v>ПКОН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913-4429-BADC-0AE072869E94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913-4429-BADC-0AE072869E94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913-4429-BADC-0AE072869E9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913-4429-BADC-0AE072869E9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5. Управление коррозией'!$S$3:$W$3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'5. Управление коррозией'!$S$5:$W$5</c:f>
              <c:numCache>
                <c:formatCode>0;\-0;;@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913-4429-BADC-0AE072869E94}"/>
            </c:ext>
          </c:extLst>
        </c:ser>
        <c:ser>
          <c:idx val="2"/>
          <c:order val="2"/>
          <c:tx>
            <c:strRef>
              <c:f>'5. Управление коррозией'!$R$6</c:f>
              <c:strCache>
                <c:ptCount val="1"/>
                <c:pt idx="0">
                  <c:v>ПГПН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913-4429-BADC-0AE072869E94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913-4429-BADC-0AE072869E94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913-4429-BADC-0AE072869E9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5. Управление коррозией'!$S$3:$W$3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'5. Управление коррозией'!$S$6:$W$6</c:f>
              <c:numCache>
                <c:formatCode>0;\-0;;@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913-4429-BADC-0AE072869E94}"/>
            </c:ext>
          </c:extLst>
        </c:ser>
        <c:ser>
          <c:idx val="3"/>
          <c:order val="3"/>
          <c:tx>
            <c:strRef>
              <c:f>'5. Управление коррозией'!$R$7</c:f>
              <c:strCache>
                <c:ptCount val="1"/>
                <c:pt idx="0">
                  <c:v>ППТНО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913-4429-BADC-0AE072869E9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5. Управление коррозией'!$S$3:$W$3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'5. Управление коррозией'!$S$7:$W$7</c:f>
              <c:numCache>
                <c:formatCode>0;\-0;;@</c:formatCode>
                <c:ptCount val="5"/>
                <c:pt idx="0">
                  <c:v>0</c:v>
                </c:pt>
                <c:pt idx="1">
                  <c:v>2</c:v>
                </c:pt>
                <c:pt idx="2">
                  <c:v>2</c:v>
                </c:pt>
                <c:pt idx="3">
                  <c:v>4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913-4429-BADC-0AE072869E94}"/>
            </c:ext>
          </c:extLst>
        </c:ser>
        <c:ser>
          <c:idx val="4"/>
          <c:order val="4"/>
          <c:tx>
            <c:strRef>
              <c:f>'5. Управление коррозией'!$R$8</c:f>
              <c:strCache>
                <c:ptCount val="1"/>
                <c:pt idx="0">
                  <c:v>ОЗХ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913-4429-BADC-0AE072869E94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9913-4429-BADC-0AE072869E9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5. Управление коррозией'!$S$3:$W$3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'5. Управление коррозией'!$S$8:$W$8</c:f>
              <c:numCache>
                <c:formatCode>0;\-0;;@</c:formatCode>
                <c:ptCount val="5"/>
                <c:pt idx="0">
                  <c:v>0</c:v>
                </c:pt>
                <c:pt idx="1">
                  <c:v>0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9913-4429-BADC-0AE072869E94}"/>
            </c:ext>
          </c:extLst>
        </c:ser>
        <c:ser>
          <c:idx val="5"/>
          <c:order val="5"/>
          <c:tx>
            <c:strRef>
              <c:f>'5. Управление коррозией'!$R$9</c:f>
              <c:strCache>
                <c:ptCount val="1"/>
                <c:pt idx="0">
                  <c:v>ПСН</c:v>
                </c:pt>
              </c:strCache>
            </c:strRef>
          </c:tx>
          <c:spPr>
            <a:solidFill>
              <a:srgbClr val="ECE1FF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9913-4429-BADC-0AE072869E94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9913-4429-BADC-0AE072869E94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9913-4429-BADC-0AE072869E9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5. Управление коррозией'!$S$3:$W$3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'5. Управление коррозией'!$S$9:$W$9</c:f>
              <c:numCache>
                <c:formatCode>0;\-0;;@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9913-4429-BADC-0AE072869E94}"/>
            </c:ext>
          </c:extLst>
        </c:ser>
        <c:ser>
          <c:idx val="6"/>
          <c:order val="6"/>
          <c:tx>
            <c:strRef>
              <c:f>'5. Управление коррозией'!$R$10</c:f>
              <c:strCache>
                <c:ptCount val="1"/>
                <c:pt idx="0">
                  <c:v>КУПС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9913-4429-BADC-0AE072869E94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9913-4429-BADC-0AE072869E9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5. Управление коррозией'!$S$3:$W$3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'5. Управление коррозией'!$S$10:$W$10</c:f>
              <c:numCache>
                <c:formatCode>0;\-0;;@</c:formatCode>
                <c:ptCount val="5"/>
                <c:pt idx="0">
                  <c:v>0</c:v>
                </c:pt>
                <c:pt idx="1">
                  <c:v>0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9913-4429-BADC-0AE072869E94}"/>
            </c:ext>
          </c:extLst>
        </c:ser>
        <c:ser>
          <c:idx val="7"/>
          <c:order val="7"/>
          <c:tx>
            <c:strRef>
              <c:f>'5. Управление коррозией'!$R$11</c:f>
              <c:strCache>
                <c:ptCount val="1"/>
                <c:pt idx="0">
                  <c:v>ВиК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9913-4429-BADC-0AE072869E94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9913-4429-BADC-0AE072869E9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5. Управление коррозией'!$S$3:$W$3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'5. Управление коррозией'!$S$11:$W$11</c:f>
              <c:numCache>
                <c:formatCode>0;\-0;;@</c:formatCode>
                <c:ptCount val="5"/>
                <c:pt idx="0">
                  <c:v>0</c:v>
                </c:pt>
                <c:pt idx="1">
                  <c:v>0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9913-4429-BADC-0AE072869E9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100"/>
        <c:axId val="337814528"/>
        <c:axId val="337810368"/>
      </c:barChart>
      <c:barChart>
        <c:barDir val="col"/>
        <c:grouping val="clustered"/>
        <c:varyColors val="0"/>
        <c:ser>
          <c:idx val="8"/>
          <c:order val="8"/>
          <c:tx>
            <c:strRef>
              <c:f>'5. Управление коррозией'!$R$12</c:f>
              <c:strCache>
                <c:ptCount val="1"/>
                <c:pt idx="0">
                  <c:v>Итого факт</c:v>
                </c:pt>
              </c:strCache>
            </c:strRef>
          </c:tx>
          <c:spPr>
            <a:noFill/>
            <a:ln w="12700">
              <a:solidFill>
                <a:schemeClr val="accent6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2.3451594616104781E-2"/>
                  <c:y val="-1.15508230529871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A-9913-4429-BADC-0AE072869E94}"/>
                </c:ext>
              </c:extLst>
            </c:dLbl>
            <c:dLbl>
              <c:idx val="1"/>
              <c:layout>
                <c:manualLayout>
                  <c:x val="2.7059532249351672E-2"/>
                  <c:y val="-1.15508230529872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B-9913-4429-BADC-0AE072869E94}"/>
                </c:ext>
              </c:extLst>
            </c:dLbl>
            <c:dLbl>
              <c:idx val="2"/>
              <c:layout>
                <c:manualLayout>
                  <c:x val="2.7059532249351672E-2"/>
                  <c:y val="-5.775411526493563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C-9913-4429-BADC-0AE072869E94}"/>
                </c:ext>
              </c:extLst>
            </c:dLbl>
            <c:dLbl>
              <c:idx val="3"/>
              <c:layout>
                <c:manualLayout>
                  <c:x val="3.4275407515845319E-2"/>
                  <c:y val="-1.73262345794806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D-9913-4429-BADC-0AE072869E94}"/>
                </c:ext>
              </c:extLst>
            </c:dLbl>
            <c:dLbl>
              <c:idx val="4"/>
              <c:layout>
                <c:manualLayout>
                  <c:x val="3.2891736116766525E-2"/>
                  <c:y val="-7.718395651443735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E-9913-4429-BADC-0AE072869E9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9E47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5. Управление коррозией'!$S$3:$V$3</c:f>
              <c:strCach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strCache>
            </c:strRef>
          </c:cat>
          <c:val>
            <c:numRef>
              <c:f>'5. Управление коррозией'!$S$12:$W$12</c:f>
              <c:numCache>
                <c:formatCode>0;\-0;;@</c:formatCode>
                <c:ptCount val="5"/>
                <c:pt idx="0">
                  <c:v>2</c:v>
                </c:pt>
                <c:pt idx="1">
                  <c:v>7</c:v>
                </c:pt>
                <c:pt idx="2">
                  <c:v>22</c:v>
                </c:pt>
                <c:pt idx="3">
                  <c:v>29</c:v>
                </c:pt>
                <c:pt idx="4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9913-4429-BADC-0AE072869E94}"/>
            </c:ext>
          </c:extLst>
        </c:ser>
        <c:ser>
          <c:idx val="9"/>
          <c:order val="9"/>
          <c:tx>
            <c:strRef>
              <c:f>'5. Управление коррозией'!$R$13</c:f>
              <c:strCache>
                <c:ptCount val="1"/>
                <c:pt idx="0">
                  <c:v>План</c:v>
                </c:pt>
              </c:strCache>
            </c:strRef>
          </c:tx>
          <c:spPr>
            <a:noFill/>
            <a:ln>
              <a:solidFill>
                <a:srgbClr val="0070C0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2.1647625799481339E-2"/>
                  <c:y val="-5.775411526493563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20-9913-4429-BADC-0AE072869E94}"/>
                </c:ext>
              </c:extLst>
            </c:dLbl>
            <c:dLbl>
              <c:idx val="1"/>
              <c:layout>
                <c:manualLayout>
                  <c:x val="-2.5255563432728226E-2"/>
                  <c:y val="-1.15508230529872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21-9913-4429-BADC-0AE072869E94}"/>
                </c:ext>
              </c:extLst>
            </c:dLbl>
            <c:dLbl>
              <c:idx val="2"/>
              <c:layout>
                <c:manualLayout>
                  <c:x val="-3.2471438699222074E-2"/>
                  <c:y val="-1.44385288162339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22-9913-4429-BADC-0AE072869E94}"/>
                </c:ext>
              </c:extLst>
            </c:dLbl>
            <c:dLbl>
              <c:idx val="3"/>
              <c:layout>
                <c:manualLayout>
                  <c:x val="-2.8863501065975117E-2"/>
                  <c:y val="-8.6631172897403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23-9913-4429-BADC-0AE072869E94}"/>
                </c:ext>
              </c:extLst>
            </c:dLbl>
            <c:dLbl>
              <c:idx val="4"/>
              <c:layout>
                <c:manualLayout>
                  <c:x val="-1.6400688683314738E-2"/>
                  <c:y val="-1.25491794494575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24-9913-4429-BADC-0AE072869E9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5. Управление коррозией'!$S$3:$V$3</c:f>
              <c:strCach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strCache>
            </c:strRef>
          </c:cat>
          <c:val>
            <c:numRef>
              <c:f>'5. Управление коррозией'!$S$13:$W$13</c:f>
              <c:numCache>
                <c:formatCode>0;\-0;;@</c:formatCode>
                <c:ptCount val="5"/>
                <c:pt idx="0">
                  <c:v>2</c:v>
                </c:pt>
                <c:pt idx="1">
                  <c:v>7</c:v>
                </c:pt>
                <c:pt idx="2">
                  <c:v>22</c:v>
                </c:pt>
                <c:pt idx="3">
                  <c:v>29</c:v>
                </c:pt>
                <c:pt idx="4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9913-4429-BADC-0AE072869E9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100"/>
        <c:axId val="1129240016"/>
        <c:axId val="1129223376"/>
      </c:barChart>
      <c:catAx>
        <c:axId val="337814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37810368"/>
        <c:crosses val="autoZero"/>
        <c:auto val="1"/>
        <c:lblAlgn val="ctr"/>
        <c:lblOffset val="100"/>
        <c:noMultiLvlLbl val="0"/>
      </c:catAx>
      <c:valAx>
        <c:axId val="337810368"/>
        <c:scaling>
          <c:orientation val="minMax"/>
          <c:max val="36"/>
          <c:min val="0"/>
        </c:scaling>
        <c:delete val="1"/>
        <c:axPos val="l"/>
        <c:numFmt formatCode="0;\-0;;@" sourceLinked="1"/>
        <c:majorTickMark val="none"/>
        <c:minorTickMark val="none"/>
        <c:tickLblPos val="nextTo"/>
        <c:crossAx val="337814528"/>
        <c:crosses val="autoZero"/>
        <c:crossBetween val="between"/>
      </c:valAx>
      <c:valAx>
        <c:axId val="1129223376"/>
        <c:scaling>
          <c:orientation val="minMax"/>
          <c:max val="36"/>
          <c:min val="0"/>
        </c:scaling>
        <c:delete val="1"/>
        <c:axPos val="r"/>
        <c:numFmt formatCode="0;\-0;;@" sourceLinked="1"/>
        <c:majorTickMark val="out"/>
        <c:minorTickMark val="none"/>
        <c:tickLblPos val="nextTo"/>
        <c:crossAx val="1129240016"/>
        <c:crosses val="max"/>
        <c:crossBetween val="between"/>
      </c:valAx>
      <c:catAx>
        <c:axId val="11292400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2922337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egendEntry>
        <c:idx val="6"/>
        <c:delete val="1"/>
      </c:legendEntry>
      <c:legendEntry>
        <c:idx val="7"/>
        <c:delete val="1"/>
      </c:legendEntry>
      <c:layout>
        <c:manualLayout>
          <c:xMode val="edge"/>
          <c:yMode val="edge"/>
          <c:x val="0.41865761767920667"/>
          <c:y val="0.91073105320554426"/>
          <c:w val="0.23187947814610838"/>
          <c:h val="8.92689467944557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5546800108801398"/>
          <c:y val="0.13407868308693766"/>
          <c:w val="0.83582360128273481"/>
          <c:h val="0.38449650972636157"/>
        </c:manualLayout>
      </c:layout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умм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4.836172258423998E-3"/>
                  <c:y val="-0.1708726021863154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BF2A-410D-AF20-B0E621BA041D}"/>
                </c:ext>
              </c:extLst>
            </c:dLbl>
            <c:dLbl>
              <c:idx val="1"/>
              <c:layout>
                <c:manualLayout>
                  <c:x val="3.2062444776953984E-3"/>
                  <c:y val="-8.91217421817766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BF2A-410D-AF20-B0E621BA041D}"/>
                </c:ext>
              </c:extLst>
            </c:dLbl>
            <c:dLbl>
              <c:idx val="2"/>
              <c:layout>
                <c:manualLayout>
                  <c:x val="3.2062444776954396E-3"/>
                  <c:y val="-5.89564093660661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BF2A-410D-AF20-B0E621BA041D}"/>
                </c:ext>
              </c:extLst>
            </c:dLbl>
            <c:dLbl>
              <c:idx val="3"/>
              <c:layout>
                <c:manualLayout>
                  <c:x val="4.2596604959214274E-3"/>
                  <c:y val="-8.44541643736908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BF2A-410D-AF20-B0E621BA041D}"/>
                </c:ext>
              </c:extLst>
            </c:dLbl>
            <c:dLbl>
              <c:idx val="4"/>
              <c:layout>
                <c:manualLayout>
                  <c:x val="4.511084569515547E-3"/>
                  <c:y val="-4.1256641134181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BF2A-410D-AF20-B0E621BA041D}"/>
                </c:ext>
              </c:extLst>
            </c:dLbl>
            <c:dLbl>
              <c:idx val="5"/>
              <c:layout>
                <c:manualLayout>
                  <c:x val="6.2637981722894883E-3"/>
                  <c:y val="-9.07508679325456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BF2A-410D-AF20-B0E621BA041D}"/>
                </c:ext>
              </c:extLst>
            </c:dLbl>
            <c:dLbl>
              <c:idx val="6"/>
              <c:layout>
                <c:manualLayout>
                  <c:x val="1.1277711423788868E-2"/>
                  <c:y val="-3.83727419328200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BF2A-410D-AF20-B0E621BA041D}"/>
                </c:ext>
              </c:extLst>
            </c:dLbl>
            <c:dLbl>
              <c:idx val="7"/>
              <c:layout>
                <c:manualLayout>
                  <c:x val="-7.9988764204523034E-3"/>
                  <c:y val="-8.42987959353822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BF2A-410D-AF20-B0E621BA041D}"/>
                </c:ext>
              </c:extLst>
            </c:dLbl>
            <c:dLbl>
              <c:idx val="8"/>
              <c:layout>
                <c:manualLayout>
                  <c:x val="2.5723838151521764E-3"/>
                  <c:y val="-3.21779861681311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BF2A-410D-AF20-B0E621BA041D}"/>
                </c:ext>
              </c:extLst>
            </c:dLbl>
            <c:dLbl>
              <c:idx val="9"/>
              <c:layout>
                <c:manualLayout>
                  <c:x val="6.012413029104182E-3"/>
                  <c:y val="-5.6793484965045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BF2A-410D-AF20-B0E621BA041D}"/>
                </c:ext>
              </c:extLst>
            </c:dLbl>
            <c:dLbl>
              <c:idx val="10"/>
              <c:layout>
                <c:manualLayout>
                  <c:x val="6.8074752578553823E-3"/>
                  <c:y val="-3.4338463822092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4093-4A94-AD45-CAF18A6ED746}"/>
                </c:ext>
              </c:extLst>
            </c:dLbl>
            <c:dLbl>
              <c:idx val="11"/>
              <c:layout>
                <c:manualLayout>
                  <c:x val="9.6806162013227306E-3"/>
                  <c:y val="-5.518841889369928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C110-42B6-94F3-B1C8071CB486}"/>
                </c:ext>
              </c:extLst>
            </c:dLbl>
            <c:dLbl>
              <c:idx val="12"/>
              <c:layout>
                <c:manualLayout>
                  <c:x val="2.2555422847577735E-3"/>
                  <c:y val="-6.75053435936312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D2AF-491B-85CB-2CAEDD2F022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4</c:f>
              <c:strCache>
                <c:ptCount val="13"/>
                <c:pt idx="0">
                  <c:v>ТОО AVC Production</c:v>
                </c:pt>
                <c:pt idx="1">
                  <c:v>ТОО МегаСтройПлюс</c:v>
                </c:pt>
                <c:pt idx="2">
                  <c:v>ТОО СтройАльянсИнвест</c:v>
                </c:pt>
                <c:pt idx="3">
                  <c:v>ТОО Строительный центр-ПВ</c:v>
                </c:pt>
                <c:pt idx="4">
                  <c:v>ИП ТАЗА</c:v>
                </c:pt>
                <c:pt idx="5">
                  <c:v>ТОО «BASTAU PROJECT»</c:v>
                </c:pt>
                <c:pt idx="6">
                  <c:v>ТОО ИСК</c:v>
                </c:pt>
                <c:pt idx="7">
                  <c:v>ТОО Тотал Сервис</c:v>
                </c:pt>
                <c:pt idx="8">
                  <c:v>ТОО Казтеплоспецстрой</c:v>
                </c:pt>
                <c:pt idx="9">
                  <c:v>ТОО Продмастер</c:v>
                </c:pt>
                <c:pt idx="10">
                  <c:v>ТОО Incom compani</c:v>
                </c:pt>
                <c:pt idx="11">
                  <c:v>ТОО НПО Дефектоскопия</c:v>
                </c:pt>
                <c:pt idx="12">
                  <c:v>другие (менее 600,0)</c:v>
                </c:pt>
              </c:strCache>
            </c:strRef>
          </c:cat>
          <c:val>
            <c:numRef>
              <c:f>Лист1!$B$2:$B$14</c:f>
              <c:numCache>
                <c:formatCode>0.0</c:formatCode>
                <c:ptCount val="13"/>
                <c:pt idx="0">
                  <c:v>10453.5</c:v>
                </c:pt>
                <c:pt idx="1">
                  <c:v>4140</c:v>
                </c:pt>
                <c:pt idx="2">
                  <c:v>2070</c:v>
                </c:pt>
                <c:pt idx="3">
                  <c:v>2242.5</c:v>
                </c:pt>
                <c:pt idx="4">
                  <c:v>1311</c:v>
                </c:pt>
                <c:pt idx="5">
                  <c:v>1380</c:v>
                </c:pt>
                <c:pt idx="6">
                  <c:v>1380</c:v>
                </c:pt>
                <c:pt idx="7">
                  <c:v>828</c:v>
                </c:pt>
                <c:pt idx="8">
                  <c:v>865.2</c:v>
                </c:pt>
                <c:pt idx="9">
                  <c:v>759</c:v>
                </c:pt>
                <c:pt idx="10">
                  <c:v>655.5</c:v>
                </c:pt>
                <c:pt idx="11">
                  <c:v>690</c:v>
                </c:pt>
                <c:pt idx="12">
                  <c:v>265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2A-410D-AF20-B0E621BA04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584709696"/>
        <c:axId val="584711336"/>
        <c:axId val="0"/>
      </c:bar3DChart>
      <c:catAx>
        <c:axId val="584709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>
            <a:noFill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584711336"/>
        <c:crosses val="autoZero"/>
        <c:auto val="1"/>
        <c:lblAlgn val="ctr"/>
        <c:lblOffset val="100"/>
        <c:noMultiLvlLbl val="0"/>
      </c:catAx>
      <c:valAx>
        <c:axId val="5847113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5847096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7678327167801925E-2"/>
          <c:y val="0.9195201438880295"/>
          <c:w val="0.15308663364836542"/>
          <c:h val="6.20190064380396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accent5">
              <a:lumMod val="50000"/>
            </a:schemeClr>
          </a:solidFill>
          <a:latin typeface="Century Gothic" panose="020B0502020202020204" pitchFamily="34" charset="0"/>
        </a:defRPr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30919971928093"/>
          <c:y val="0.23414969364227856"/>
          <c:w val="0.73059082110328766"/>
          <c:h val="0.34044152385860926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женщин</c:v>
                </c:pt>
              </c:strCache>
            </c:strRef>
          </c:tx>
          <c:spPr>
            <a:solidFill>
              <a:srgbClr val="2F5597"/>
            </a:solidFill>
            <a:ln w="9382" cap="flat" cmpd="sng" algn="ctr">
              <a:noFill/>
              <a:round/>
            </a:ln>
            <a:effectLst/>
          </c:spPr>
          <c:invertIfNegative val="0"/>
          <c:dLbls>
            <c:spPr>
              <a:noFill/>
              <a:ln w="25070">
                <a:noFill/>
              </a:ln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  <c:pt idx="0">
                  <c:v>2424</c:v>
                </c:pt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2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2F-4304-8726-61DA1CF657C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мужчин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 w="9382" cap="flat" cmpd="sng" algn="ctr">
              <a:noFill/>
              <a:round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12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8D4E-4AAC-9A66-8C25CD4CBB08}"/>
                </c:ext>
              </c:extLst>
            </c:dLbl>
            <c:spPr>
              <a:noFill/>
              <a:ln w="25070">
                <a:noFill/>
              </a:ln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  <c:pt idx="0">
                  <c:v>2424</c:v>
                </c:pt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21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02F-4304-8726-61DA1CF657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0110528"/>
        <c:axId val="1"/>
      </c:barChart>
      <c:catAx>
        <c:axId val="1001105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382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b"/>
        <c:majorGridlines>
          <c:spPr>
            <a:ln w="9382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ln w="6266">
            <a:noFill/>
          </a:ln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100110528"/>
        <c:crosses val="autoZero"/>
        <c:crossBetween val="between"/>
      </c:valAx>
      <c:spPr>
        <a:noFill/>
        <a:ln w="25333">
          <a:noFill/>
        </a:ln>
      </c:spPr>
    </c:plotArea>
    <c:legend>
      <c:legendPos val="b"/>
      <c:layout>
        <c:manualLayout>
          <c:xMode val="edge"/>
          <c:yMode val="edge"/>
          <c:x val="0.28099716721758894"/>
          <c:y val="0.80530886264795698"/>
          <c:w val="0.5718423345955409"/>
          <c:h val="8.4424298936317199E-2"/>
        </c:manualLayout>
      </c:layout>
      <c:overlay val="0"/>
      <c:spPr>
        <a:noFill/>
        <a:ln w="25070">
          <a:noFill/>
        </a:ln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>
          <a:latin typeface="Century Gothic" panose="020B0502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46064844655597E-2"/>
          <c:y val="5.6833930730649608E-2"/>
          <c:w val="0.9038606578315026"/>
          <c:h val="0.664570061566560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обученных</c:v>
                </c:pt>
              </c:strCache>
            </c:strRef>
          </c:tx>
          <c:spPr>
            <a:pattFill prst="narHorz">
              <a:fgClr>
                <a:schemeClr val="accent1"/>
              </a:fgClr>
              <a:bgClr>
                <a:schemeClr val="accent1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/>
              </a:innerShdw>
            </a:effectLst>
          </c:spPr>
          <c:invertIfNegative val="0"/>
          <c:dLbls>
            <c:dLbl>
              <c:idx val="2"/>
              <c:layout>
                <c:manualLayout>
                  <c:x val="0.12797696393053493"/>
                  <c:y val="-3.421653299767005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Обучаются</a:t>
                    </a:r>
                    <a:r>
                      <a:rPr lang="ru-RU" baseline="0" dirty="0" smtClean="0"/>
                      <a:t> 49</a:t>
                    </a:r>
                    <a:r>
                      <a:rPr lang="ru-RU" dirty="0" smtClean="0"/>
                      <a:t> студентов </a:t>
                    </a:r>
                  </a:p>
                  <a:p>
                    <a:r>
                      <a:rPr lang="ru-RU" dirty="0" smtClean="0"/>
                      <a:t>3 курс – 25</a:t>
                    </a:r>
                  </a:p>
                  <a:p>
                    <a:r>
                      <a:rPr lang="ru-RU" dirty="0" smtClean="0"/>
                      <a:t>4 курс - 24 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791562604946958"/>
                      <c:h val="0.430923016572656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FCC4-4D9D-9119-17B6257DA7C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accent5">
                        <a:lumMod val="7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1!$A$9:$A$11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B$9:$B$11</c:f>
              <c:numCache>
                <c:formatCode>General</c:formatCode>
                <c:ptCount val="3"/>
                <c:pt idx="0">
                  <c:v>23</c:v>
                </c:pt>
                <c:pt idx="1">
                  <c:v>30</c:v>
                </c:pt>
                <c:pt idx="2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5D-440B-BE1E-013DB3ED79D1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-во принятых</c:v>
                </c:pt>
              </c:strCache>
            </c:strRef>
          </c:tx>
          <c:spPr>
            <a:pattFill prst="narHorz">
              <a:fgClr>
                <a:schemeClr val="accent2"/>
              </a:fgClr>
              <a:bgClr>
                <a:schemeClr val="accent2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2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accent5">
                        <a:lumMod val="7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1!$A$9:$A$11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C$9:$C$11</c:f>
              <c:numCache>
                <c:formatCode>General</c:formatCode>
                <c:ptCount val="3"/>
                <c:pt idx="0">
                  <c:v>17</c:v>
                </c:pt>
                <c:pt idx="1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25D-440B-BE1E-013DB3ED79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22"/>
        <c:axId val="313114640"/>
        <c:axId val="313120872"/>
      </c:barChart>
      <c:catAx>
        <c:axId val="313114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313120872"/>
        <c:crosses val="autoZero"/>
        <c:auto val="1"/>
        <c:lblAlgn val="ctr"/>
        <c:lblOffset val="100"/>
        <c:noMultiLvlLbl val="0"/>
      </c:catAx>
      <c:valAx>
        <c:axId val="313120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13114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9.1106131852839292E-2"/>
          <c:y val="0.8417267117426831"/>
          <c:w val="0.73656203632053419"/>
          <c:h val="0.140040995178432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latin typeface="Century Gothic" panose="020B0502020202020204" pitchFamily="34" charset="0"/>
        </a:defRPr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9.0031663148539033E-3"/>
          <c:w val="0.96512043324162256"/>
          <c:h val="0.52119311904700727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казатель текучести кадров</c:v>
                </c:pt>
              </c:strCache>
            </c:strRef>
          </c:tx>
          <c:spPr>
            <a:ln w="28102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0.11313756651978135"/>
                  <c:y val="6.714609608559324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B5A-4C57-8400-86845B35FACD}"/>
                </c:ext>
              </c:extLst>
            </c:dLbl>
            <c:dLbl>
              <c:idx val="1"/>
              <c:layout>
                <c:manualLayout>
                  <c:x val="-4.8959429344451924E-2"/>
                  <c:y val="-0.12564972939514654"/>
                </c:manualLayout>
              </c:layout>
              <c:spPr>
                <a:noFill/>
                <a:ln w="25061">
                  <a:noFill/>
                </a:ln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0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335385392908414"/>
                      <c:h val="0.2809310870220768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B5A-4C57-8400-86845B35FACD}"/>
                </c:ext>
              </c:extLst>
            </c:dLbl>
            <c:dLbl>
              <c:idx val="2"/>
              <c:layout>
                <c:manualLayout>
                  <c:x val="0"/>
                  <c:y val="-0.1058215753805132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FB5A-4C57-8400-86845B35FACD}"/>
                </c:ext>
              </c:extLst>
            </c:dLbl>
            <c:dLbl>
              <c:idx val="3"/>
              <c:spPr>
                <a:noFill/>
                <a:ln w="25061">
                  <a:noFill/>
                </a:ln>
              </c:spPr>
              <c:txPr>
                <a:bodyPr rot="0" spcFirstLastPara="1" vertOverflow="ellipsis" vert="horz" wrap="square" anchor="ctr" anchorCtr="0"/>
                <a:lstStyle/>
                <a:p>
                  <a:pPr algn="r">
                    <a:defRPr sz="1000" b="1" i="0" u="none" strike="noStrike" kern="1200" baseline="0">
                      <a:solidFill>
                        <a:srgbClr val="C0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FB5A-4C57-8400-86845B35FACD}"/>
                </c:ext>
              </c:extLst>
            </c:dLbl>
            <c:spPr>
              <a:noFill/>
              <a:ln w="25061">
                <a:noFill/>
              </a:ln>
            </c:spPr>
            <c:txPr>
              <a:bodyPr rot="0" spcFirstLastPara="1" vertOverflow="ellipsis" vert="horz" wrap="square" anchor="ctr" anchorCtr="0"/>
              <a:lstStyle/>
              <a:p>
                <a:pPr algn="r"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B$2:$B$4</c:f>
              <c:numCache>
                <c:formatCode>0.0%</c:formatCode>
                <c:ptCount val="3"/>
                <c:pt idx="0">
                  <c:v>0.06</c:v>
                </c:pt>
                <c:pt idx="1">
                  <c:v>5.5E-2</c:v>
                </c:pt>
                <c:pt idx="2">
                  <c:v>0.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B5A-4C57-8400-86845B35FA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89434064"/>
        <c:axId val="1"/>
      </c:lineChart>
      <c:catAx>
        <c:axId val="14894340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368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1"/>
        <c:axPos val="l"/>
        <c:majorGridlines>
          <c:spPr>
            <a:ln w="9368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out"/>
        <c:minorTickMark val="none"/>
        <c:tickLblPos val="nextTo"/>
        <c:crossAx val="1489434064"/>
        <c:crosses val="autoZero"/>
        <c:crossBetween val="between"/>
      </c:valAx>
      <c:spPr>
        <a:gradFill flip="none" rotWithShape="1">
          <a:gsLst>
            <a:gs pos="72843">
              <a:srgbClr val="B7D3ED">
                <a:alpha val="0"/>
              </a:srgbClr>
            </a:gs>
            <a:gs pos="71687">
              <a:srgbClr val="B8D4ED"/>
            </a:gs>
            <a:gs pos="69375">
              <a:srgbClr val="BAD5EE"/>
            </a:gs>
            <a:gs pos="64750">
              <a:srgbClr val="BED8EF"/>
            </a:gs>
            <a:gs pos="55500">
              <a:srgbClr val="C7DDF1"/>
            </a:gs>
            <a:gs pos="37000">
              <a:srgbClr val="D9E8F6"/>
            </a:gs>
            <a:gs pos="0">
              <a:schemeClr val="accent1">
                <a:alpha val="0"/>
                <a:lumMod val="1000"/>
                <a:lumOff val="99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ln w="25351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0912</cdr:y>
    </cdr:from>
    <cdr:to>
      <cdr:x>0.91414</cdr:x>
      <cdr:y>0.13217</cdr:y>
    </cdr:to>
    <cdr:sp macro="" textlink="">
      <cdr:nvSpPr>
        <cdr:cNvPr id="2" name="Прямоугольник 1">
          <a:extLst xmlns:a="http://schemas.openxmlformats.org/drawingml/2006/main">
            <a:ext uri="{FF2B5EF4-FFF2-40B4-BE49-F238E27FC236}">
              <a16:creationId xmlns:a16="http://schemas.microsoft.com/office/drawing/2014/main" id="{80A0CD63-1EF0-49FE-B83E-8B0213AA8B19}"/>
            </a:ext>
          </a:extLst>
        </cdr:cNvPr>
        <cdr:cNvSpPr/>
      </cdr:nvSpPr>
      <cdr:spPr>
        <a:xfrm xmlns:a="http://schemas.openxmlformats.org/drawingml/2006/main">
          <a:off x="0" y="20539"/>
          <a:ext cx="3136979" cy="2769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just">
            <a:lnSpc>
              <a:spcPct val="100000"/>
            </a:lnSpc>
          </a:pPr>
          <a:r>
            <a:rPr lang="ru-RU" sz="1200" b="1" dirty="0" smtClean="0">
              <a:solidFill>
                <a:srgbClr val="002060"/>
              </a:solidFill>
              <a:latin typeface="Century Gothic" panose="020B0502020202020204" pitchFamily="34" charset="0"/>
              <a:ea typeface="Tahoma" pitchFamily="34" charset="0"/>
              <a:cs typeface="Arial" panose="020B0604020202020204" pitchFamily="34" charset="0"/>
            </a:rPr>
            <a:t>Ремонты насосов и компрессоров</a:t>
          </a:r>
          <a:endParaRPr lang="ru-RU" sz="1200" b="1" dirty="0">
            <a:solidFill>
              <a:srgbClr val="002060"/>
            </a:solidFill>
            <a:latin typeface="Century Gothic" panose="020B0502020202020204" pitchFamily="34" charset="0"/>
            <a:ea typeface="Tahoma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</cdr:x>
      <cdr:y>0.02071</cdr:y>
    </cdr:from>
    <cdr:to>
      <cdr:x>0.8266</cdr:x>
      <cdr:y>0.12616</cdr:y>
    </cdr:to>
    <cdr:sp macro="" textlink="">
      <cdr:nvSpPr>
        <cdr:cNvPr id="2" name="Прямоугольник 1">
          <a:extLst xmlns:a="http://schemas.openxmlformats.org/drawingml/2006/main">
            <a:ext uri="{FF2B5EF4-FFF2-40B4-BE49-F238E27FC236}">
              <a16:creationId xmlns:a16="http://schemas.microsoft.com/office/drawing/2014/main" id="{80A0CD63-1EF0-49FE-B83E-8B0213AA8B19}"/>
            </a:ext>
          </a:extLst>
        </cdr:cNvPr>
        <cdr:cNvSpPr/>
      </cdr:nvSpPr>
      <cdr:spPr>
        <a:xfrm xmlns:a="http://schemas.openxmlformats.org/drawingml/2006/main">
          <a:off x="-289170" y="54393"/>
          <a:ext cx="2836566" cy="2769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just">
            <a:lnSpc>
              <a:spcPct val="100000"/>
            </a:lnSpc>
          </a:pPr>
          <a:r>
            <a:rPr lang="ru-RU" sz="1200" b="1" dirty="0" smtClean="0">
              <a:solidFill>
                <a:srgbClr val="002060"/>
              </a:solidFill>
              <a:latin typeface="Century Gothic" panose="020B0502020202020204" pitchFamily="34" charset="0"/>
              <a:ea typeface="Tahoma" pitchFamily="34" charset="0"/>
              <a:cs typeface="Arial" panose="020B0604020202020204" pitchFamily="34" charset="0"/>
            </a:rPr>
            <a:t>Ремонты электродвигателей</a:t>
          </a:r>
          <a:endParaRPr lang="ru-RU" sz="1200" b="1" dirty="0">
            <a:solidFill>
              <a:srgbClr val="002060"/>
            </a:solidFill>
            <a:latin typeface="Century Gothic" panose="020B0502020202020204" pitchFamily="34" charset="0"/>
            <a:ea typeface="Tahoma" pitchFamily="34" charset="0"/>
            <a:cs typeface="Arial" panose="020B0604020202020204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3596" cy="497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7745" y="0"/>
            <a:ext cx="2943596" cy="497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184788-6911-4512-B395-E8FF2E06ECEB}" type="datetimeFigureOut">
              <a:rPr lang="ru-RU" smtClean="0"/>
              <a:t>15.05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39838"/>
            <a:ext cx="5954713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292" y="4776431"/>
            <a:ext cx="5434330" cy="3907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7076"/>
            <a:ext cx="2943596" cy="4979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7745" y="9427076"/>
            <a:ext cx="2943596" cy="4979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690DD9-364F-445F-B57E-716DCC4526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51844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05106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03259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85203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73BFF1-1417-4016-B568-5ED6FDF493D3}" type="slidenum">
              <a:rPr lang="ru-KZ" smtClean="0"/>
              <a:t>29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7186917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73BFF1-1417-4016-B568-5ED6FDF493D3}" type="slidenum">
              <a:rPr lang="ru-KZ" smtClean="0"/>
              <a:t>30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1713689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13328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4282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4011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71087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94638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10669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16559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94297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44655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30181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4A326-5681-454F-B11E-9AA6A336A507}" type="datetimeFigureOut">
              <a:rPr lang="ru-RU" smtClean="0"/>
              <a:t>15.05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08368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4A326-5681-454F-B11E-9AA6A336A507}" type="datetimeFigureOut">
              <a:rPr lang="ru-RU" smtClean="0"/>
              <a:t>15.05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09741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4A326-5681-454F-B11E-9AA6A336A507}" type="datetimeFigureOut">
              <a:rPr lang="ru-RU" smtClean="0"/>
              <a:t>15.05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97009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7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5"/>
          <p:cNvSpPr/>
          <p:nvPr userDrawn="1"/>
        </p:nvSpPr>
        <p:spPr>
          <a:xfrm>
            <a:off x="0" y="0"/>
            <a:ext cx="12192000" cy="68358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92899" tIns="46454" rIns="92899" bIns="46454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kk-KZ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en-US" sz="2400" b="1" kern="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Заголовок 2"/>
          <p:cNvSpPr txBox="1">
            <a:spLocks/>
          </p:cNvSpPr>
          <p:nvPr userDrawn="1"/>
        </p:nvSpPr>
        <p:spPr>
          <a:xfrm>
            <a:off x="589627" y="0"/>
            <a:ext cx="11075633" cy="792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05680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 userDrawn="1"/>
        </p:nvSpPr>
        <p:spPr>
          <a:xfrm>
            <a:off x="2" y="5"/>
            <a:ext cx="12191999" cy="684885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62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966444" y="48023"/>
            <a:ext cx="8259113" cy="227306"/>
          </a:xfrm>
        </p:spPr>
        <p:txBody>
          <a:bodyPr lIns="0" tIns="0" rIns="0" bIns="0"/>
          <a:lstStyle>
            <a:lvl1pPr>
              <a:defRPr sz="1477" b="1" i="0">
                <a:solidFill>
                  <a:srgbClr val="00466C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A4400E-AC81-4E52-8A1B-6031ED301EB7}" type="datetime1">
              <a:rPr lang="en-US" smtClean="0"/>
              <a:t>5/15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353087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4A326-5681-454F-B11E-9AA6A336A507}" type="datetimeFigureOut">
              <a:rPr lang="ru-RU" smtClean="0"/>
              <a:t>15.05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18372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4A326-5681-454F-B11E-9AA6A336A507}" type="datetimeFigureOut">
              <a:rPr lang="ru-RU" smtClean="0"/>
              <a:t>15.05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1367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4A326-5681-454F-B11E-9AA6A336A507}" type="datetimeFigureOut">
              <a:rPr lang="ru-RU" smtClean="0"/>
              <a:t>15.05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6318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4A326-5681-454F-B11E-9AA6A336A507}" type="datetimeFigureOut">
              <a:rPr lang="ru-RU" smtClean="0"/>
              <a:t>15.05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58247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4A326-5681-454F-B11E-9AA6A336A507}" type="datetimeFigureOut">
              <a:rPr lang="ru-RU" smtClean="0"/>
              <a:t>15.05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43438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4A326-5681-454F-B11E-9AA6A336A507}" type="datetimeFigureOut">
              <a:rPr lang="ru-RU" smtClean="0"/>
              <a:t>15.05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81466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4A326-5681-454F-B11E-9AA6A336A507}" type="datetimeFigureOut">
              <a:rPr lang="ru-RU" smtClean="0"/>
              <a:t>15.05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87492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4A326-5681-454F-B11E-9AA6A336A507}" type="datetimeFigureOut">
              <a:rPr lang="ru-RU" smtClean="0"/>
              <a:t>15.05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8138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44A326-5681-454F-B11E-9AA6A336A507}" type="datetimeFigureOut">
              <a:rPr lang="ru-RU" smtClean="0"/>
              <a:t>15.05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9893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24.jpg"/><Relationship Id="rId7" Type="http://schemas.openxmlformats.org/officeDocument/2006/relationships/image" Target="../media/image28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png"/><Relationship Id="rId4" Type="http://schemas.openxmlformats.org/officeDocument/2006/relationships/image" Target="../media/image3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13" Type="http://schemas.microsoft.com/office/2007/relationships/hdphoto" Target="../media/hdphoto1.wdp"/><Relationship Id="rId3" Type="http://schemas.openxmlformats.org/officeDocument/2006/relationships/image" Target="../media/image40.png"/><Relationship Id="rId7" Type="http://schemas.openxmlformats.org/officeDocument/2006/relationships/image" Target="../media/image44.jpeg"/><Relationship Id="rId12" Type="http://schemas.openxmlformats.org/officeDocument/2006/relationships/image" Target="../media/image4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3.jpeg"/><Relationship Id="rId11" Type="http://schemas.openxmlformats.org/officeDocument/2006/relationships/image" Target="../media/image48.jpeg"/><Relationship Id="rId5" Type="http://schemas.openxmlformats.org/officeDocument/2006/relationships/image" Target="../media/image42.png"/><Relationship Id="rId10" Type="http://schemas.openxmlformats.org/officeDocument/2006/relationships/image" Target="../media/image47.jpeg"/><Relationship Id="rId4" Type="http://schemas.openxmlformats.org/officeDocument/2006/relationships/image" Target="../media/image41.png"/><Relationship Id="rId9" Type="http://schemas.openxmlformats.org/officeDocument/2006/relationships/image" Target="../media/image46.png"/><Relationship Id="rId1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emf"/><Relationship Id="rId3" Type="http://schemas.openxmlformats.org/officeDocument/2006/relationships/image" Target="../media/image50.png"/><Relationship Id="rId7" Type="http://schemas.openxmlformats.org/officeDocument/2006/relationships/image" Target="../media/image52.emf"/><Relationship Id="rId12" Type="http://schemas.openxmlformats.org/officeDocument/2006/relationships/image" Target="../media/image5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1.png"/><Relationship Id="rId11" Type="http://schemas.openxmlformats.org/officeDocument/2006/relationships/image" Target="../media/image56.jpeg"/><Relationship Id="rId5" Type="http://schemas.openxmlformats.org/officeDocument/2006/relationships/image" Target="../media/image36.png"/><Relationship Id="rId10" Type="http://schemas.openxmlformats.org/officeDocument/2006/relationships/image" Target="../media/image55.jpeg"/><Relationship Id="rId4" Type="http://schemas.openxmlformats.org/officeDocument/2006/relationships/image" Target="../media/image38.png"/><Relationship Id="rId9" Type="http://schemas.openxmlformats.org/officeDocument/2006/relationships/image" Target="../media/image54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7" Type="http://schemas.openxmlformats.org/officeDocument/2006/relationships/image" Target="../media/image6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8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8.png"/><Relationship Id="rId5" Type="http://schemas.openxmlformats.org/officeDocument/2006/relationships/image" Target="../media/image64.jpg"/><Relationship Id="rId4" Type="http://schemas.openxmlformats.org/officeDocument/2006/relationships/image" Target="../media/image6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.png"/><Relationship Id="rId5" Type="http://schemas.openxmlformats.org/officeDocument/2006/relationships/image" Target="../media/image65.JPG"/><Relationship Id="rId4" Type="http://schemas.openxmlformats.org/officeDocument/2006/relationships/image" Target="../media/image6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chart" Target="../charts/chart2.xml"/><Relationship Id="rId7" Type="http://schemas.openxmlformats.org/officeDocument/2006/relationships/image" Target="../media/image67.jp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6.jpg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0.png"/><Relationship Id="rId7" Type="http://schemas.openxmlformats.org/officeDocument/2006/relationships/image" Target="../media/image74.pn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3.emf"/><Relationship Id="rId5" Type="http://schemas.openxmlformats.org/officeDocument/2006/relationships/image" Target="../media/image72.png"/><Relationship Id="rId10" Type="http://schemas.openxmlformats.org/officeDocument/2006/relationships/image" Target="../media/image3.png"/><Relationship Id="rId4" Type="http://schemas.openxmlformats.org/officeDocument/2006/relationships/image" Target="../media/image71.jpeg"/><Relationship Id="rId9" Type="http://schemas.openxmlformats.org/officeDocument/2006/relationships/image" Target="../media/image76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7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openxmlformats.org/officeDocument/2006/relationships/chart" Target="../charts/chart10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.png"/><Relationship Id="rId5" Type="http://schemas.openxmlformats.org/officeDocument/2006/relationships/image" Target="../media/image81.jpeg"/><Relationship Id="rId4" Type="http://schemas.openxmlformats.org/officeDocument/2006/relationships/image" Target="../media/image80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image" Target="../media/image83.jpeg"/><Relationship Id="rId7" Type="http://schemas.openxmlformats.org/officeDocument/2006/relationships/image" Target="../media/image87.png"/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6.jpeg"/><Relationship Id="rId5" Type="http://schemas.openxmlformats.org/officeDocument/2006/relationships/image" Target="../media/image85.jpeg"/><Relationship Id="rId10" Type="http://schemas.openxmlformats.org/officeDocument/2006/relationships/image" Target="../media/image3.png"/><Relationship Id="rId4" Type="http://schemas.openxmlformats.org/officeDocument/2006/relationships/image" Target="../media/image84.jpeg"/><Relationship Id="rId9" Type="http://schemas.openxmlformats.org/officeDocument/2006/relationships/image" Target="../media/image89.jpe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jpeg"/><Relationship Id="rId3" Type="http://schemas.openxmlformats.org/officeDocument/2006/relationships/image" Target="../media/image90.jpeg"/><Relationship Id="rId7" Type="http://schemas.openxmlformats.org/officeDocument/2006/relationships/image" Target="../media/image93.jpeg"/><Relationship Id="rId12" Type="http://schemas.openxmlformats.org/officeDocument/2006/relationships/image" Target="../media/image98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2.jpeg"/><Relationship Id="rId11" Type="http://schemas.openxmlformats.org/officeDocument/2006/relationships/image" Target="../media/image97.jpeg"/><Relationship Id="rId5" Type="http://schemas.openxmlformats.org/officeDocument/2006/relationships/image" Target="../media/image91.jpeg"/><Relationship Id="rId10" Type="http://schemas.openxmlformats.org/officeDocument/2006/relationships/image" Target="../media/image96.jpeg"/><Relationship Id="rId4" Type="http://schemas.openxmlformats.org/officeDocument/2006/relationships/image" Target="../media/image3.png"/><Relationship Id="rId9" Type="http://schemas.openxmlformats.org/officeDocument/2006/relationships/image" Target="../media/image95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jpeg"/><Relationship Id="rId13" Type="http://schemas.openxmlformats.org/officeDocument/2006/relationships/image" Target="../media/image108.jpeg"/><Relationship Id="rId3" Type="http://schemas.openxmlformats.org/officeDocument/2006/relationships/image" Target="../media/image90.jpeg"/><Relationship Id="rId7" Type="http://schemas.openxmlformats.org/officeDocument/2006/relationships/image" Target="../media/image102.jpeg"/><Relationship Id="rId12" Type="http://schemas.openxmlformats.org/officeDocument/2006/relationships/image" Target="../media/image107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1.jpeg"/><Relationship Id="rId11" Type="http://schemas.openxmlformats.org/officeDocument/2006/relationships/image" Target="../media/image106.jpeg"/><Relationship Id="rId5" Type="http://schemas.openxmlformats.org/officeDocument/2006/relationships/image" Target="../media/image100.jpeg"/><Relationship Id="rId10" Type="http://schemas.openxmlformats.org/officeDocument/2006/relationships/image" Target="../media/image105.jpeg"/><Relationship Id="rId4" Type="http://schemas.openxmlformats.org/officeDocument/2006/relationships/image" Target="../media/image99.jpeg"/><Relationship Id="rId9" Type="http://schemas.openxmlformats.org/officeDocument/2006/relationships/image" Target="../media/image104.jpeg"/><Relationship Id="rId14" Type="http://schemas.openxmlformats.org/officeDocument/2006/relationships/image" Target="../media/image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1.jpeg"/><Relationship Id="rId4" Type="http://schemas.openxmlformats.org/officeDocument/2006/relationships/image" Target="../media/image110.jpe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jpeg"/><Relationship Id="rId3" Type="http://schemas.openxmlformats.org/officeDocument/2006/relationships/image" Target="../media/image113.jpeg"/><Relationship Id="rId7" Type="http://schemas.openxmlformats.org/officeDocument/2006/relationships/image" Target="../media/image117.jpeg"/><Relationship Id="rId2" Type="http://schemas.openxmlformats.org/officeDocument/2006/relationships/image" Target="../media/image112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6.jpeg"/><Relationship Id="rId11" Type="http://schemas.openxmlformats.org/officeDocument/2006/relationships/image" Target="../media/image3.png"/><Relationship Id="rId5" Type="http://schemas.openxmlformats.org/officeDocument/2006/relationships/image" Target="../media/image115.jpeg"/><Relationship Id="rId10" Type="http://schemas.openxmlformats.org/officeDocument/2006/relationships/image" Target="../media/image120.jpeg"/><Relationship Id="rId4" Type="http://schemas.openxmlformats.org/officeDocument/2006/relationships/image" Target="../media/image114.jpeg"/><Relationship Id="rId9" Type="http://schemas.openxmlformats.org/officeDocument/2006/relationships/image" Target="../media/image119.jpe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jpeg"/><Relationship Id="rId3" Type="http://schemas.openxmlformats.org/officeDocument/2006/relationships/image" Target="../media/image122.jpeg"/><Relationship Id="rId7" Type="http://schemas.openxmlformats.org/officeDocument/2006/relationships/image" Target="../media/image126.jpeg"/><Relationship Id="rId2" Type="http://schemas.openxmlformats.org/officeDocument/2006/relationships/image" Target="../media/image121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5.jpeg"/><Relationship Id="rId11" Type="http://schemas.openxmlformats.org/officeDocument/2006/relationships/image" Target="../media/image3.png"/><Relationship Id="rId5" Type="http://schemas.openxmlformats.org/officeDocument/2006/relationships/image" Target="../media/image124.jpeg"/><Relationship Id="rId10" Type="http://schemas.openxmlformats.org/officeDocument/2006/relationships/image" Target="../media/image129.jpeg"/><Relationship Id="rId4" Type="http://schemas.openxmlformats.org/officeDocument/2006/relationships/image" Target="../media/image123.jpeg"/><Relationship Id="rId9" Type="http://schemas.openxmlformats.org/officeDocument/2006/relationships/image" Target="../media/image128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g"/><Relationship Id="rId2" Type="http://schemas.openxmlformats.org/officeDocument/2006/relationships/image" Target="../media/image130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png"/><Relationship Id="rId4" Type="http://schemas.openxmlformats.org/officeDocument/2006/relationships/image" Target="../media/image132.jpe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8.jpeg"/><Relationship Id="rId3" Type="http://schemas.openxmlformats.org/officeDocument/2006/relationships/image" Target="../media/image134.jpeg"/><Relationship Id="rId7" Type="http://schemas.openxmlformats.org/officeDocument/2006/relationships/image" Target="../media/image92.jpeg"/><Relationship Id="rId12" Type="http://schemas.openxmlformats.org/officeDocument/2006/relationships/image" Target="../media/image3.png"/><Relationship Id="rId2" Type="http://schemas.openxmlformats.org/officeDocument/2006/relationships/image" Target="../media/image133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7.jpeg"/><Relationship Id="rId11" Type="http://schemas.openxmlformats.org/officeDocument/2006/relationships/image" Target="../media/image141.jpeg"/><Relationship Id="rId5" Type="http://schemas.openxmlformats.org/officeDocument/2006/relationships/image" Target="../media/image136.jpeg"/><Relationship Id="rId10" Type="http://schemas.openxmlformats.org/officeDocument/2006/relationships/image" Target="../media/image140.jpeg"/><Relationship Id="rId4" Type="http://schemas.openxmlformats.org/officeDocument/2006/relationships/image" Target="../media/image135.jpeg"/><Relationship Id="rId9" Type="http://schemas.openxmlformats.org/officeDocument/2006/relationships/image" Target="../media/image139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7.jpg"/><Relationship Id="rId7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Relationship Id="rId9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3.jp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jpg"/><Relationship Id="rId5" Type="http://schemas.openxmlformats.org/officeDocument/2006/relationships/image" Target="../media/image3.png"/><Relationship Id="rId4" Type="http://schemas.openxmlformats.org/officeDocument/2006/relationships/image" Target="../media/image14.jpg"/><Relationship Id="rId9" Type="http://schemas.openxmlformats.org/officeDocument/2006/relationships/image" Target="../media/image18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941561" y="2065366"/>
            <a:ext cx="2815627" cy="578763"/>
          </a:xfrm>
          <a:prstGeom prst="rect">
            <a:avLst/>
          </a:prstGeom>
          <a:solidFill>
            <a:srgbClr val="2D4B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68641" y="2856468"/>
            <a:ext cx="8926926" cy="676039"/>
          </a:xfrm>
          <a:prstGeom prst="rect">
            <a:avLst/>
          </a:prstGeom>
          <a:noFill/>
        </p:spPr>
        <p:txBody>
          <a:bodyPr vert="horz" wrap="square" lIns="0" tIns="11133" rIns="0" bIns="0" rtlCol="0" anchor="ctr">
            <a:spAutoFit/>
          </a:bodyPr>
          <a:lstStyle/>
          <a:p>
            <a:pPr marL="12696">
              <a:spcBef>
                <a:spcPts val="95"/>
              </a:spcBef>
            </a:pPr>
            <a:r>
              <a:rPr lang="ru-RU" sz="2400" b="0" spc="-5" dirty="0" smtClean="0">
                <a:solidFill>
                  <a:srgbClr val="FFFFFF"/>
                </a:solidFill>
              </a:rPr>
              <a:t>Отчет по итогам работы ТОО «ПНХЗ»</a:t>
            </a:r>
            <a:br>
              <a:rPr lang="ru-RU" sz="2400" b="0" spc="-5" dirty="0" smtClean="0">
                <a:solidFill>
                  <a:srgbClr val="FFFFFF"/>
                </a:solidFill>
              </a:rPr>
            </a:br>
            <a:r>
              <a:rPr lang="ru-RU" sz="2400" b="0" spc="-5" dirty="0" smtClean="0">
                <a:solidFill>
                  <a:srgbClr val="FFFFFF"/>
                </a:solidFill>
              </a:rPr>
              <a:t> за </a:t>
            </a:r>
            <a:r>
              <a:rPr lang="ru-RU" sz="2400" b="0" spc="-5" dirty="0">
                <a:solidFill>
                  <a:srgbClr val="FFFFFF"/>
                </a:solidFill>
              </a:rPr>
              <a:t>2023 </a:t>
            </a:r>
            <a:r>
              <a:rPr lang="ru-RU" sz="2400" b="0" spc="-5" dirty="0" smtClean="0">
                <a:solidFill>
                  <a:srgbClr val="FFFFFF"/>
                </a:solidFill>
              </a:rPr>
              <a:t>год</a:t>
            </a:r>
            <a:endParaRPr sz="2400" spc="-5" dirty="0">
              <a:solidFill>
                <a:srgbClr val="FFFFFF"/>
              </a:solidFill>
            </a:endParaRPr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B6DBC5-2991-4E2A-939D-C7D09FC53455}"/>
              </a:ext>
            </a:extLst>
          </p:cNvPr>
          <p:cNvSpPr txBox="1">
            <a:spLocks/>
          </p:cNvSpPr>
          <p:nvPr/>
        </p:nvSpPr>
        <p:spPr>
          <a:xfrm>
            <a:off x="5029586" y="6475899"/>
            <a:ext cx="2109391" cy="210007"/>
          </a:xfrm>
          <a:prstGeom prst="rect">
            <a:avLst/>
          </a:prstGeom>
        </p:spPr>
        <p:txBody>
          <a:bodyPr vert="horz" wrap="square" lIns="0" tIns="11133" rIns="0" bIns="0" rtlCol="0">
            <a:spAutoFit/>
          </a:bodyPr>
          <a:lstStyle>
            <a:lvl1pPr>
              <a:defRPr sz="1600" b="1" i="0">
                <a:solidFill>
                  <a:srgbClr val="00466C"/>
                </a:solidFill>
                <a:latin typeface="Arial"/>
                <a:ea typeface="+mj-ea"/>
                <a:cs typeface="Arial"/>
              </a:defRPr>
            </a:lvl1pPr>
          </a:lstStyle>
          <a:p>
            <a:pPr marL="11720" algn="ctr">
              <a:spcBef>
                <a:spcPts val="88"/>
              </a:spcBef>
            </a:pPr>
            <a:r>
              <a:rPr lang="ru-RU" sz="1292" i="1" kern="0" dirty="0" smtClean="0">
                <a:solidFill>
                  <a:schemeClr val="tx1"/>
                </a:solidFill>
              </a:rPr>
              <a:t>Февраль 2024 </a:t>
            </a:r>
            <a:r>
              <a:rPr lang="ru-RU" sz="1292" i="1" kern="0" dirty="0">
                <a:solidFill>
                  <a:schemeClr val="tx1"/>
                </a:solidFill>
              </a:rPr>
              <a:t>г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641" y="2171574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446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6389630" y="178009"/>
            <a:ext cx="579576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ЧЕСКИЕ РЕШЕНИЯ ПО ПРОИЗВОДСТВАМ 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28124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0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7870962"/>
              </p:ext>
            </p:extLst>
          </p:nvPr>
        </p:nvGraphicFramePr>
        <p:xfrm>
          <a:off x="410613" y="769170"/>
          <a:ext cx="4021365" cy="2436802"/>
        </p:xfrm>
        <a:graphic>
          <a:graphicData uri="http://schemas.openxmlformats.org/drawingml/2006/table">
            <a:tbl>
              <a:tblPr>
                <a:tableStyleId>{D7AC3CCA-C797-4891-BE02-D94E43425B78}</a:tableStyleId>
              </a:tblPr>
              <a:tblGrid>
                <a:gridCol w="1638634">
                  <a:extLst>
                    <a:ext uri="{9D8B030D-6E8A-4147-A177-3AD203B41FA5}">
                      <a16:colId xmlns:a16="http://schemas.microsoft.com/office/drawing/2014/main" val="3804136378"/>
                    </a:ext>
                  </a:extLst>
                </a:gridCol>
                <a:gridCol w="1294929">
                  <a:extLst>
                    <a:ext uri="{9D8B030D-6E8A-4147-A177-3AD203B41FA5}">
                      <a16:colId xmlns:a16="http://schemas.microsoft.com/office/drawing/2014/main" val="630293024"/>
                    </a:ext>
                  </a:extLst>
                </a:gridCol>
                <a:gridCol w="1087802">
                  <a:extLst>
                    <a:ext uri="{9D8B030D-6E8A-4147-A177-3AD203B41FA5}">
                      <a16:colId xmlns:a16="http://schemas.microsoft.com/office/drawing/2014/main" val="2191676362"/>
                    </a:ext>
                  </a:extLst>
                </a:gridCol>
              </a:tblGrid>
              <a:tr h="4391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Arial" panose="020B0604020202020204" pitchFamily="34" charset="0"/>
                        </a:rPr>
                        <a:t>Производство</a:t>
                      </a:r>
                      <a:endParaRPr lang="ru-RU" sz="1400" b="1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18852" marR="18852" marT="725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022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852" marR="18852" marT="7251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023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852" marR="18852" marT="7251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6770355"/>
                  </a:ext>
                </a:extLst>
              </a:tr>
              <a:tr h="2853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Arial" panose="020B0604020202020204" pitchFamily="34" charset="0"/>
                        </a:rPr>
                        <a:t>ПППН</a:t>
                      </a:r>
                    </a:p>
                  </a:txBody>
                  <a:tcPr marL="72000" marR="52206" marT="725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206" marR="52206" marT="725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206" marR="52206" marT="725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4453183"/>
                  </a:ext>
                </a:extLst>
              </a:tr>
              <a:tr h="2853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Arial" panose="020B0604020202020204" pitchFamily="34" charset="0"/>
                        </a:rPr>
                        <a:t>ПКОН</a:t>
                      </a:r>
                    </a:p>
                  </a:txBody>
                  <a:tcPr marL="72000" marR="52206" marT="725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206" marR="52206" marT="725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206" marR="52206" marT="725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9738161"/>
                  </a:ext>
                </a:extLst>
              </a:tr>
              <a:tr h="2853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Arial" panose="020B0604020202020204" pitchFamily="34" charset="0"/>
                        </a:rPr>
                        <a:t>ПГПН</a:t>
                      </a:r>
                    </a:p>
                  </a:txBody>
                  <a:tcPr marL="7200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400" b="1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400" b="1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5361903"/>
                  </a:ext>
                </a:extLst>
              </a:tr>
              <a:tr h="2853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4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Arial" panose="020B0604020202020204" pitchFamily="34" charset="0"/>
                        </a:rPr>
                        <a:t>ППТНО</a:t>
                      </a:r>
                      <a:endParaRPr lang="ru-RU" sz="1400" b="1" kern="1200" dirty="0" smtClean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7200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2819944"/>
                  </a:ext>
                </a:extLst>
              </a:tr>
              <a:tr h="2853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Arial" panose="020B0604020202020204" pitchFamily="34" charset="0"/>
                        </a:rPr>
                        <a:t>ПСиОЗХ</a:t>
                      </a:r>
                    </a:p>
                  </a:txBody>
                  <a:tcPr marL="7200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655587"/>
                  </a:ext>
                </a:extLst>
              </a:tr>
              <a:tr h="2853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Arial" panose="020B0604020202020204" pitchFamily="34" charset="0"/>
                        </a:rPr>
                        <a:t>ПСН</a:t>
                      </a:r>
                    </a:p>
                  </a:txBody>
                  <a:tcPr marL="7200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8949051"/>
                  </a:ext>
                </a:extLst>
              </a:tr>
              <a:tr h="2853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Arial" panose="020B0604020202020204" pitchFamily="34" charset="0"/>
                        </a:rPr>
                        <a:t>Итого:</a:t>
                      </a:r>
                    </a:p>
                  </a:txBody>
                  <a:tcPr marL="7200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9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47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0196827"/>
                  </a:ext>
                </a:extLst>
              </a:tr>
            </a:tbl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4142043" y="3026618"/>
            <a:ext cx="402770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2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зел подачи нейтрализатора на С-100 </a:t>
            </a:r>
          </a:p>
          <a:p>
            <a:pPr algn="ctr"/>
            <a:r>
              <a:rPr lang="kk-KZ" sz="12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ППН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779416" y="2954486"/>
            <a:ext cx="31355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мена приводов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электрозадвижек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п.30, 29-3, 29-5/2 ПКОН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5274500" y="6156097"/>
            <a:ext cx="30572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онтаж поточного анализатора концентрации МДЭА С-850 </a:t>
            </a:r>
            <a:r>
              <a:rPr lang="ru-RU" sz="1200" b="1" dirty="0" err="1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СиОЗХ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9019054" y="6156097"/>
            <a:ext cx="278941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2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онтаж запорной арматуры</a:t>
            </a:r>
          </a:p>
          <a:p>
            <a:r>
              <a:rPr lang="kk-KZ" sz="12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</a:t>
            </a:r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-505 А/В </a:t>
            </a:r>
            <a:r>
              <a:rPr lang="ru-RU" sz="1200" b="1" dirty="0" err="1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иСН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2784081" y="6149155"/>
            <a:ext cx="23479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2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апитальный ремонт дымовой трубы УЗК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372553" y="6149155"/>
            <a:ext cx="23479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2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онтаж отсечной арматуры на ХВ-313 С-300 ПГПН№3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3" descr="8d6c3f2e-7bc4-46b1-8cee-689c45c7534c@PNHZ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4880945" y="691614"/>
            <a:ext cx="2204629" cy="2359742"/>
          </a:xfrm>
          <a:prstGeom prst="rect">
            <a:avLst/>
          </a:prstGeom>
          <a:noFill/>
          <a:ln>
            <a:noFill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9060" y="813176"/>
            <a:ext cx="3715120" cy="2160624"/>
          </a:xfrm>
          <a:prstGeom prst="rect">
            <a:avLst/>
          </a:prstGeom>
        </p:spPr>
      </p:pic>
      <p:pic>
        <p:nvPicPr>
          <p:cNvPr id="4099" name="Picture 3" descr="6842e3ee-ebe2-4b54-b4e1-51dbbc313929@PNHZ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2570" y="3488283"/>
            <a:ext cx="3002384" cy="2538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4" descr="4ae71444-54e0-4fca-95d4-5f8dff1e213a@PNHZ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123" y="3534374"/>
            <a:ext cx="1960265" cy="2538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1" name="Picture 5" descr="a1eff27a-172a-420e-9273-bdd1aa45bddf@PNHZ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200" y="3534374"/>
            <a:ext cx="1869526" cy="2492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2" name="Picture 6" descr="7b8d0007-8edd-4dc2-981f-cba921aeb7d5@PNHZ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6712" y="3486773"/>
            <a:ext cx="3374447" cy="2538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485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8971878" y="133768"/>
            <a:ext cx="32139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ЦИОНАЛИЗАТОРСТВО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40787" y="648509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1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103840" y="955144"/>
            <a:ext cx="6775592" cy="525528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indent="355600" algn="just"/>
            <a:r>
              <a:rPr lang="ru-RU" sz="1300" b="1" kern="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 июня 2023 года </a:t>
            </a:r>
            <a:r>
              <a:rPr lang="ru-RU" sz="1300" kern="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тверждена новая редакция </a:t>
            </a:r>
            <a:r>
              <a:rPr lang="ru-RU" sz="1300" kern="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ложения </a:t>
            </a:r>
            <a:br>
              <a:rPr lang="ru-RU" sz="1300" kern="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</a:br>
            <a:r>
              <a:rPr lang="ru-RU" sz="1300" kern="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«О </a:t>
            </a:r>
            <a:r>
              <a:rPr lang="ru-RU" sz="1300" kern="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ционализаторской </a:t>
            </a:r>
            <a:r>
              <a:rPr lang="ru-RU" sz="1300" kern="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еятельности ТОО «ПНХЗ».</a:t>
            </a:r>
            <a:endParaRPr lang="ru-RU" sz="1300" b="1" kern="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algn="just"/>
            <a:endParaRPr lang="ru-RU" sz="1300" kern="0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indent="355600" algn="just"/>
            <a:r>
              <a:rPr lang="ru-RU" sz="1300" kern="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</a:t>
            </a:r>
            <a:r>
              <a:rPr lang="ru-RU" sz="1300" kern="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истемной платформе «</a:t>
            </a:r>
            <a:r>
              <a:rPr lang="ru-RU" sz="1300" kern="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анка идей» </a:t>
            </a:r>
            <a:r>
              <a:rPr lang="ru-RU" sz="1300" b="1" kern="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регистрированы </a:t>
            </a:r>
            <a:br>
              <a:rPr lang="ru-RU" sz="1300" b="1" kern="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</a:br>
            <a:r>
              <a:rPr lang="ru-RU" sz="1300" b="1" kern="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17 пользователей </a:t>
            </a:r>
            <a:r>
              <a:rPr lang="ru-RU" sz="1300" kern="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качестве </a:t>
            </a:r>
            <a:r>
              <a:rPr lang="ru-RU" sz="1300" kern="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дминистратора/экспертов/членов </a:t>
            </a:r>
            <a:r>
              <a:rPr lang="ru-RU" sz="1300" kern="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Инновационного комитета.</a:t>
            </a:r>
          </a:p>
          <a:p>
            <a:pPr marL="177800" algn="just"/>
            <a:endParaRPr lang="kk-KZ" sz="13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indent="355600" algn="just"/>
            <a:r>
              <a:rPr lang="kk-KZ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 рационализаторским предложениям в 202</a:t>
            </a:r>
            <a:r>
              <a:rPr lang="en-US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</a:t>
            </a:r>
            <a:r>
              <a:rPr lang="kk-KZ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году:</a:t>
            </a:r>
          </a:p>
          <a:p>
            <a:pPr indent="266700" algn="just"/>
            <a:r>
              <a:rPr lang="ru-RU" sz="1300" i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►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Отобраны и 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регистрированы в Банке Идей – 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сего </a:t>
            </a:r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</a:t>
            </a:r>
            <a:r>
              <a:rPr lang="en-US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</a:t>
            </a:r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м.</a:t>
            </a:r>
          </a:p>
          <a:p>
            <a:pPr indent="266700" algn="just"/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►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ссмотрены экспертами на заседании Инновационного комитета (декабрь 2023г.) </a:t>
            </a: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- </a:t>
            </a:r>
            <a:r>
              <a:rPr lang="en-US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</a:t>
            </a:r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тем: </a:t>
            </a:r>
          </a:p>
          <a:p>
            <a:pPr marL="1809750" indent="-285750" algn="just">
              <a:buFontTx/>
              <a:buChar char="-"/>
            </a:pP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изнано рационализаторским – </a:t>
            </a:r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 тема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 </a:t>
            </a:r>
          </a:p>
          <a:p>
            <a:pPr marL="1809750" indent="-285750" algn="just">
              <a:buFontTx/>
              <a:buChar char="-"/>
            </a:pP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ерспективной идеей – </a:t>
            </a:r>
            <a:r>
              <a:rPr lang="en-US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</a:t>
            </a:r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тем</a:t>
            </a:r>
            <a:r>
              <a:rPr lang="kk-KZ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 </a:t>
            </a:r>
          </a:p>
          <a:p>
            <a:pPr marL="1809750" indent="-285750" algn="just">
              <a:buFontTx/>
              <a:buChar char="-"/>
            </a:pP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тправлены на доработку – </a:t>
            </a:r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4 темы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 indent="266700" algn="just"/>
            <a:r>
              <a:rPr lang="ru-RU" sz="1300" i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►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На рассмотрении у экспертов Инновационного комитета ТОО «ПНХЗ» </a:t>
            </a:r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- </a:t>
            </a:r>
            <a:b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</a:br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 тем. 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ланируется проведение заседания Инновационного комитета в феврале 2024 года.</a:t>
            </a:r>
          </a:p>
          <a:p>
            <a:pPr marL="177800" algn="just"/>
            <a:endParaRPr lang="ru-RU" sz="1050" b="1" dirty="0" smtClean="0">
              <a:solidFill>
                <a:srgbClr val="002060"/>
              </a:solidFill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355600" algn="just"/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ложением, в случае признания Инновационным комитетом,  предусмотрены следующие виды выплат авторам:</a:t>
            </a:r>
          </a:p>
          <a:p>
            <a:pPr indent="720725" algn="just"/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за предоставленную идею – не более 50 МРП;</a:t>
            </a:r>
          </a:p>
          <a:p>
            <a:pPr indent="720725" algn="just">
              <a:tabLst>
                <a:tab pos="88900" algn="l"/>
              </a:tabLst>
            </a:pPr>
            <a:r>
              <a:rPr lang="kk-KZ" sz="13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за предоставленное рационализаторское предложение –                не более 250 МРП;</a:t>
            </a:r>
          </a:p>
          <a:p>
            <a:pPr indent="720725" algn="just"/>
            <a:r>
              <a:rPr lang="kk-KZ" sz="13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за полученный экономический эффект по итогам 12 месяцев                 (до 1 250 000 тенге).</a:t>
            </a:r>
            <a:endParaRPr lang="ru-RU" sz="1300" b="1" dirty="0" smtClean="0">
              <a:solidFill>
                <a:srgbClr val="002060"/>
              </a:solidFill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/>
          <a:srcRect l="50027" t="10451" r="699" b="3356"/>
          <a:stretch/>
        </p:blipFill>
        <p:spPr>
          <a:xfrm>
            <a:off x="601799" y="955144"/>
            <a:ext cx="4306317" cy="2378109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11" name="Picture 2" descr="351a057f-f254-46c1-9a83-b81eee2827a9@PNHZ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799" y="3468915"/>
            <a:ext cx="1996785" cy="2077674"/>
          </a:xfrm>
          <a:prstGeom prst="rect">
            <a:avLst/>
          </a:prstGeom>
          <a:noFill/>
          <a:ln>
            <a:noFill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6d99becf-e3ad-40b2-b19d-72760d8c9e7c@PNHZ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V="1">
            <a:off x="2813357" y="3468915"/>
            <a:ext cx="1462784" cy="2077674"/>
          </a:xfrm>
          <a:prstGeom prst="rect">
            <a:avLst/>
          </a:prstGeom>
          <a:noFill/>
          <a:ln>
            <a:noFill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155655" y="5615714"/>
            <a:ext cx="4752461" cy="10926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indent="355600" algn="just"/>
            <a:r>
              <a:rPr lang="ru-RU" sz="1300" kern="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ционализаторское предложение оператора товарного ГФХ ППТНО </a:t>
            </a:r>
            <a:r>
              <a:rPr lang="ru-RU" sz="1300" kern="0" dirty="0" err="1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болотских</a:t>
            </a:r>
            <a:r>
              <a:rPr lang="ru-RU" sz="1300" kern="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А.С. на  тему: «Снижение количества ремонтов на приводах компрессоров ГФХ ППТНО» на стадии внедрения в производство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822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9660884" y="169265"/>
            <a:ext cx="24495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Ы ПО АСУТП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09575" y="1058022"/>
            <a:ext cx="6097823" cy="11462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179070" lvl="0">
              <a:lnSpc>
                <a:spcPct val="107000"/>
              </a:lnSpc>
              <a:defRPr/>
            </a:pPr>
            <a:r>
              <a:rPr lang="ru-RU" sz="1600" b="1" u="sng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Миграция </a:t>
            </a:r>
            <a:r>
              <a:rPr lang="ru-RU" sz="1600" b="1" u="sng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АСУТП ЛК-6У, КТ-1 и ВКС:</a:t>
            </a:r>
          </a:p>
          <a:p>
            <a:pPr marR="179070">
              <a:lnSpc>
                <a:spcPct val="107000"/>
              </a:lnSpc>
              <a:defRPr/>
            </a:pP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Выполнены работы по миграции систем управления </a:t>
            </a:r>
            <a:endParaRPr lang="ru-RU" sz="1600" dirty="0" smtClean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R="179070">
              <a:lnSpc>
                <a:spcPct val="107000"/>
              </a:lnSpc>
              <a:defRPr/>
            </a:pPr>
            <a:r>
              <a:rPr lang="ru-RU" sz="16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ПППН</a:t>
            </a: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, ПГПН, ПВС воздушной компрессорной станции. </a:t>
            </a:r>
          </a:p>
          <a:p>
            <a:pPr marR="179070" lvl="0">
              <a:lnSpc>
                <a:spcPct val="107000"/>
              </a:lnSpc>
              <a:defRPr/>
            </a:pPr>
            <a:endParaRPr lang="ru-RU" sz="1600" b="1" u="sng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89337" y="2519026"/>
            <a:ext cx="7292061" cy="16731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179070" lvl="0">
              <a:lnSpc>
                <a:spcPct val="107000"/>
              </a:lnSpc>
              <a:defRPr/>
            </a:pPr>
            <a:r>
              <a:rPr lang="ru-RU" sz="1600" b="1" u="sng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Расширение АСУТП ГФХ ППТНО:</a:t>
            </a:r>
          </a:p>
          <a:p>
            <a:pPr marR="179070">
              <a:lnSpc>
                <a:spcPct val="107000"/>
              </a:lnSpc>
              <a:defRPr/>
            </a:pP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На участке ГФХ ППТНО произведено расширение существующей </a:t>
            </a:r>
            <a:endParaRPr lang="ru-RU" sz="1600" dirty="0" smtClean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R="179070">
              <a:lnSpc>
                <a:spcPct val="107000"/>
              </a:lnSpc>
              <a:defRPr/>
            </a:pPr>
            <a:r>
              <a:rPr lang="ru-RU" sz="16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системы </a:t>
            </a: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управления и противоаварийной защиты, что позволило </a:t>
            </a:r>
            <a:endParaRPr lang="ru-RU" sz="1600" dirty="0" smtClean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R="179070">
              <a:lnSpc>
                <a:spcPct val="107000"/>
              </a:lnSpc>
              <a:defRPr/>
            </a:pPr>
            <a:r>
              <a:rPr lang="ru-RU" sz="16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подключить </a:t>
            </a: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к системе дополнительно около 70 единиц полевого </a:t>
            </a:r>
            <a:endParaRPr lang="ru-RU" sz="1600" dirty="0" smtClean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R="179070">
              <a:lnSpc>
                <a:spcPct val="107000"/>
              </a:lnSpc>
              <a:defRPr/>
            </a:pPr>
            <a:r>
              <a:rPr lang="ru-RU" sz="16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оборудования </a:t>
            </a: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КИП.</a:t>
            </a:r>
          </a:p>
          <a:p>
            <a:pPr marR="179070" lvl="0">
              <a:lnSpc>
                <a:spcPct val="107000"/>
              </a:lnSpc>
              <a:defRPr/>
            </a:pPr>
            <a:endParaRPr lang="ru-RU" sz="1600" b="1" u="sng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89337" y="4534891"/>
            <a:ext cx="7347750" cy="16731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79070">
              <a:lnSpc>
                <a:spcPct val="107000"/>
              </a:lnSpc>
            </a:pPr>
            <a:r>
              <a:rPr lang="ru-RU" sz="1600" b="1" u="sng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Внедрение функций </a:t>
            </a:r>
            <a:r>
              <a:rPr lang="en-US" sz="1600" b="1" u="sng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Port-security </a:t>
            </a:r>
            <a:r>
              <a:rPr lang="ru-RU" sz="1600" b="1" u="sng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на коммутаторах сетей АСУТП:</a:t>
            </a:r>
          </a:p>
          <a:p>
            <a:pPr marR="179070">
              <a:lnSpc>
                <a:spcPct val="107000"/>
              </a:lnSpc>
            </a:pP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Во исполнение рекомендаций по информационной безопасности, выполнен комплекс мероприятий, направленный на повышение защищенности сетей АСУТП, в том числе внедрение функции «Порт секьюрити</a:t>
            </a:r>
            <a:r>
              <a:rPr lang="ru-RU" sz="16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»</a:t>
            </a:r>
            <a:endParaRPr lang="ru-RU" sz="1600" b="1" u="sng" dirty="0" smtClean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R="179070">
              <a:lnSpc>
                <a:spcPct val="107000"/>
              </a:lnSpc>
            </a:pPr>
            <a:endParaRPr lang="ru-RU" sz="1600" b="1" u="sng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207A29E-9545-46BC-8E24-D3631CD01CD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572" b="31572"/>
          <a:stretch/>
        </p:blipFill>
        <p:spPr>
          <a:xfrm>
            <a:off x="8195536" y="897522"/>
            <a:ext cx="3488994" cy="2858100"/>
          </a:xfrm>
          <a:prstGeom prst="rect">
            <a:avLst/>
          </a:prstGeom>
          <a:ln w="228600" cap="sq" cmpd="thickThin">
            <a:noFill/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pic>
        <p:nvPicPr>
          <p:cNvPr id="9" name="Рисунок 8" descr="Изображение выглядит как в помещении, компьютерный монитор, электроника, стена&#10;&#10;Автоматически созданное описание">
            <a:extLst>
              <a:ext uri="{FF2B5EF4-FFF2-40B4-BE49-F238E27FC236}">
                <a16:creationId xmlns:a16="http://schemas.microsoft.com/office/drawing/2014/main" id="{8B2E1AB1-791B-5F46-B90B-B1EE088FDFE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5536" y="3955138"/>
            <a:ext cx="3488994" cy="2494724"/>
          </a:xfrm>
          <a:prstGeom prst="rect">
            <a:avLst/>
          </a:prstGeom>
          <a:solidFill>
            <a:schemeClr val="accent2"/>
          </a:solidFill>
          <a:ln w="228600" cap="sq" cmpd="thickThin">
            <a:noFill/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10" name="Прямоугольник 9"/>
          <p:cNvSpPr/>
          <p:nvPr/>
        </p:nvSpPr>
        <p:spPr>
          <a:xfrm>
            <a:off x="409575" y="3439755"/>
            <a:ext cx="7619058" cy="3687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79070" algn="just">
              <a:lnSpc>
                <a:spcPct val="107000"/>
              </a:lnSpc>
              <a:defRPr/>
            </a:pPr>
            <a:endParaRPr lang="ru-RU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2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2075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8066062" y="169265"/>
            <a:ext cx="41259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Ы ДЕПАРТАМЕНТА </a:t>
            </a:r>
            <a:r>
              <a:rPr lang="ru-RU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иМО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5180936"/>
              </p:ext>
            </p:extLst>
          </p:nvPr>
        </p:nvGraphicFramePr>
        <p:xfrm>
          <a:off x="201249" y="1599771"/>
          <a:ext cx="11706048" cy="475199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777809">
                  <a:extLst>
                    <a:ext uri="{9D8B030D-6E8A-4147-A177-3AD203B41FA5}">
                      <a16:colId xmlns:a16="http://schemas.microsoft.com/office/drawing/2014/main" val="90662027"/>
                    </a:ext>
                  </a:extLst>
                </a:gridCol>
                <a:gridCol w="74414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29283">
                  <a:extLst>
                    <a:ext uri="{9D8B030D-6E8A-4147-A177-3AD203B41FA5}">
                      <a16:colId xmlns:a16="http://schemas.microsoft.com/office/drawing/2014/main" val="1576961858"/>
                    </a:ext>
                  </a:extLst>
                </a:gridCol>
                <a:gridCol w="15574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71156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№</a:t>
                      </a:r>
                      <a:endParaRPr lang="en-US" sz="14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НАИМЕНОВАНИЕ</a:t>
                      </a:r>
                      <a:endParaRPr lang="en-US" sz="14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РАЗРАБОТЧИК</a:t>
                      </a:r>
                      <a:endParaRPr lang="en-US" sz="14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СРОКИ</a:t>
                      </a:r>
                      <a:r>
                        <a:rPr lang="en-US" sz="14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РЕАЛИЗАЦИИ</a:t>
                      </a:r>
                      <a:endParaRPr lang="en-US" sz="14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6910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US" sz="18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Техническое перевооружение АСУТП производств первичной переработки нефти (ЛК-6У) и глубокой переработки нефти (КТ-1)</a:t>
                      </a:r>
                      <a:endParaRPr lang="en-US" sz="1600" b="0" kern="120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АО «КИНГ»</a:t>
                      </a:r>
                      <a:endParaRPr lang="en-US" sz="160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4 -2027</a:t>
                      </a:r>
                      <a:endParaRPr lang="en-US" sz="18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526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80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Оснащение современной системой автоматизации компрессоров ПППН</a:t>
                      </a:r>
                      <a:endParaRPr lang="en-US" sz="1600" b="0" kern="120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ТОО «ИК MG Engineering"</a:t>
                      </a:r>
                      <a:endParaRPr lang="en-US" sz="1600" kern="120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4-2025</a:t>
                      </a:r>
                      <a:endParaRPr lang="en-US" sz="18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692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180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Реконструкция установки грануляции серы С840 производства серы и ОЗХ.</a:t>
                      </a:r>
                      <a:endParaRPr lang="en-US" sz="1600" b="0" kern="120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ТОО «ИК MG Engineering"</a:t>
                      </a:r>
                      <a:endParaRPr lang="en-US" sz="1600" kern="120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4-2025</a:t>
                      </a:r>
                      <a:endParaRPr lang="en-US" sz="18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159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en-US" sz="180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Модернизация приборов КИП и внедрение системы автоматизации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на установке производства битума.</a:t>
                      </a:r>
                      <a:endParaRPr lang="en-US" sz="1600" b="0" kern="120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ТОО «ИК MG Engineering"</a:t>
                      </a:r>
                      <a:endParaRPr lang="en-US" sz="1600" kern="120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4-2025</a:t>
                      </a:r>
                      <a:endParaRPr lang="en-US" sz="18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7582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US" sz="180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Оснащение стационарной системой мониторинга технического состояния оборудования Производства серы №5, ОЗХ, Производства светлых нефтепродуктов №6.</a:t>
                      </a:r>
                      <a:endParaRPr lang="en-US" sz="1600" b="0" kern="120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ТОО «</a:t>
                      </a:r>
                      <a:r>
                        <a:rPr lang="ru-RU" sz="1600" kern="1200" dirty="0" err="1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СтройЭксПроект</a:t>
                      </a:r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»</a:t>
                      </a:r>
                      <a:endParaRPr lang="en-US" sz="1600" kern="120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en-US" sz="16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5-2026</a:t>
                      </a:r>
                      <a:endParaRPr lang="en-US" sz="18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" name="Заголовок 1"/>
          <p:cNvSpPr txBox="1">
            <a:spLocks/>
          </p:cNvSpPr>
          <p:nvPr/>
        </p:nvSpPr>
        <p:spPr>
          <a:xfrm>
            <a:off x="201249" y="914400"/>
            <a:ext cx="11706048" cy="5145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006CB5"/>
                </a:solidFill>
                <a:latin typeface="+mj-lt"/>
                <a:ea typeface="+mj-ea"/>
                <a:cs typeface="+mj-cs"/>
              </a:defRPr>
            </a:lvl1pPr>
          </a:lstStyle>
          <a:p>
            <a:pPr indent="452438" algn="just"/>
            <a:r>
              <a:rPr lang="ru-RU" sz="1800" dirty="0" smtClean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Times New Roman" panose="02020603050405020304" pitchFamily="18" charset="0"/>
              </a:rPr>
              <a:t>В 2023 году </a:t>
            </a:r>
            <a:r>
              <a:rPr lang="ru-RU" sz="1800" dirty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Times New Roman" panose="02020603050405020304" pitchFamily="18" charset="0"/>
              </a:rPr>
              <a:t>завершена разработка и получены положительные заключения </a:t>
            </a:r>
            <a:r>
              <a:rPr lang="ru-RU" sz="1800" dirty="0" err="1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Times New Roman" panose="02020603050405020304" pitchFamily="18" charset="0"/>
              </a:rPr>
              <a:t>Госэкспертизы</a:t>
            </a:r>
            <a:r>
              <a:rPr lang="ru-RU" sz="1800" dirty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Times New Roman" panose="02020603050405020304" pitchFamily="18" charset="0"/>
              </a:rPr>
              <a:t> по следующим проектам: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3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6463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/>
          <a:srcRect b="19098"/>
          <a:stretch/>
        </p:blipFill>
        <p:spPr>
          <a:xfrm>
            <a:off x="6201052" y="3780013"/>
            <a:ext cx="6048130" cy="2928997"/>
          </a:xfrm>
          <a:prstGeom prst="rect">
            <a:avLst/>
          </a:prstGeom>
        </p:spPr>
      </p:pic>
      <p:pic>
        <p:nvPicPr>
          <p:cNvPr id="191" name="Picture 2">
            <a:extLst>
              <a:ext uri="{FF2B5EF4-FFF2-40B4-BE49-F238E27FC236}">
                <a16:creationId xmlns:a16="http://schemas.microsoft.com/office/drawing/2014/main" id="{E8BFB986-428C-4E02-91EE-C0D71D2354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01" t="7505" r="16990" b="7564"/>
          <a:stretch/>
        </p:blipFill>
        <p:spPr bwMode="auto">
          <a:xfrm>
            <a:off x="9878279" y="1182130"/>
            <a:ext cx="2239484" cy="2155498"/>
          </a:xfrm>
          <a:prstGeom prst="rect">
            <a:avLst/>
          </a:prstGeom>
          <a:ln w="9525"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6136661" y="1177641"/>
            <a:ext cx="630673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defRPr/>
            </a:pP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ЕЛЬ ПРОЕКТА: </a:t>
            </a:r>
          </a:p>
          <a:p>
            <a:pPr>
              <a:defRPr/>
            </a:pPr>
            <a:r>
              <a:rPr lang="ru-RU" sz="105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нижение содержания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еркаптановой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серы в СУГ</a:t>
            </a:r>
          </a:p>
          <a:p>
            <a:pPr>
              <a:defRPr/>
            </a:pPr>
            <a:endParaRPr lang="ru-RU" sz="5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ОКИ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АЛИЗАЦИИ ОСНОВНЫХ 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ЭТАПОВ: </a:t>
            </a:r>
            <a:r>
              <a:rPr lang="ru-RU" sz="105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19-2024</a:t>
            </a:r>
            <a:endParaRPr lang="ru-RU" sz="105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sz="5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ЕНЕРАЛЬНЫЙ ЕРС-ПОДРЯДЧИК: </a:t>
            </a:r>
            <a:r>
              <a:rPr lang="ru-RU" sz="105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О 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«ЭОН </a:t>
            </a:r>
            <a:r>
              <a:rPr lang="ru-RU" sz="1050" dirty="0" err="1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Энерго</a:t>
            </a:r>
            <a:r>
              <a:rPr lang="ru-RU" sz="105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</a:t>
            </a:r>
          </a:p>
          <a:p>
            <a:pPr>
              <a:defRPr/>
            </a:pPr>
            <a:endParaRPr lang="ru-RU" sz="5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ИЗВОДИТЕЛЬНОСТЬ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СТАНОВКИ:  </a:t>
            </a:r>
            <a:endParaRPr lang="en-US" sz="11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00 тыс. тонн в </a:t>
            </a:r>
            <a:r>
              <a:rPr lang="ru-RU" sz="105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од</a:t>
            </a:r>
            <a:endParaRPr lang="ru-RU" sz="105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810779" y="6515951"/>
            <a:ext cx="390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4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9" name="Picture 2" descr="C:\Users\ERNAR\Desktop\Yerlan\uop_logo.gi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6304" y="1624361"/>
            <a:ext cx="532146" cy="303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149409" y="2719473"/>
            <a:ext cx="4423228" cy="11644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"/>
              </a:spcBef>
              <a:defRPr/>
            </a:pPr>
            <a:endParaRPr lang="ru-RU" sz="2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КУЩИЙ СТАТУС:</a:t>
            </a:r>
          </a:p>
          <a:p>
            <a:pPr>
              <a:defRPr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зработка Рабочего проекта – 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00%;</a:t>
            </a:r>
            <a:endParaRPr lang="ru-RU" sz="11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рректировка ТЭО –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00%;</a:t>
            </a:r>
          </a:p>
          <a:p>
            <a:pPr>
              <a:defRPr/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змещение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каза на оборудование –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00%;</a:t>
            </a:r>
          </a:p>
          <a:p>
            <a:pPr>
              <a:spcBef>
                <a:spcPts val="100"/>
              </a:spcBef>
              <a:defRPr/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ставка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борудования – 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00%;</a:t>
            </a:r>
            <a:endParaRPr lang="ru-RU" sz="11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МР – 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4,4%;</a:t>
            </a:r>
            <a:endParaRPr lang="ru-RU" sz="11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0" name="Рисунок 159">
            <a:extLst>
              <a:ext uri="{FF2B5EF4-FFF2-40B4-BE49-F238E27FC236}">
                <a16:creationId xmlns:a16="http://schemas.microsoft.com/office/drawing/2014/main" id="{7646A0E1-A367-AFE1-1017-5BD8B0B033C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8759" y="1218073"/>
            <a:ext cx="991219" cy="312572"/>
          </a:xfrm>
          <a:prstGeom prst="rect">
            <a:avLst/>
          </a:prstGeom>
          <a:effectLst>
            <a:glow>
              <a:schemeClr val="accent1"/>
            </a:glow>
          </a:effectLst>
        </p:spPr>
      </p:pic>
      <p:cxnSp>
        <p:nvCxnSpPr>
          <p:cNvPr id="80" name="Прямая соединительная линия 79"/>
          <p:cNvCxnSpPr/>
          <p:nvPr/>
        </p:nvCxnSpPr>
        <p:spPr>
          <a:xfrm>
            <a:off x="6067371" y="692957"/>
            <a:ext cx="5324" cy="614919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/>
          <p:nvPr/>
        </p:nvCxnSpPr>
        <p:spPr>
          <a:xfrm flipH="1" flipV="1">
            <a:off x="4780" y="1104597"/>
            <a:ext cx="12185803" cy="4817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Прямоугольник 81"/>
          <p:cNvSpPr/>
          <p:nvPr/>
        </p:nvSpPr>
        <p:spPr>
          <a:xfrm>
            <a:off x="6230670" y="779357"/>
            <a:ext cx="582294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УСТАНОВКА ОЧИСТКИ СЖИЖЕННОГО УГЛЕВОДОРОДНОГО ГАЗА (MEROX)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111" name="Freeform 13"/>
          <p:cNvSpPr>
            <a:spLocks/>
          </p:cNvSpPr>
          <p:nvPr/>
        </p:nvSpPr>
        <p:spPr bwMode="auto">
          <a:xfrm>
            <a:off x="12779830" y="3238650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" name="Freeform 13"/>
          <p:cNvSpPr>
            <a:spLocks/>
          </p:cNvSpPr>
          <p:nvPr/>
        </p:nvSpPr>
        <p:spPr bwMode="auto">
          <a:xfrm>
            <a:off x="13376953" y="4356904"/>
            <a:ext cx="110393" cy="137051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" name="Freeform 13"/>
          <p:cNvSpPr>
            <a:spLocks/>
          </p:cNvSpPr>
          <p:nvPr/>
        </p:nvSpPr>
        <p:spPr bwMode="auto">
          <a:xfrm>
            <a:off x="19249788" y="3106732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89" y="73603"/>
            <a:ext cx="2124481" cy="559402"/>
          </a:xfrm>
          <a:prstGeom prst="rect">
            <a:avLst/>
          </a:prstGeom>
        </p:spPr>
      </p:pic>
      <p:sp>
        <p:nvSpPr>
          <p:cNvPr id="29" name="Rectangle 8"/>
          <p:cNvSpPr>
            <a:spLocks noChangeArrowheads="1"/>
          </p:cNvSpPr>
          <p:nvPr/>
        </p:nvSpPr>
        <p:spPr bwMode="auto">
          <a:xfrm>
            <a:off x="8875437" y="189030"/>
            <a:ext cx="32423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Ы</a:t>
            </a:r>
            <a:r>
              <a:rPr lang="en-US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Я</a:t>
            </a:r>
            <a:endParaRPr lang="ru-RU" alt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37522" y="775835"/>
            <a:ext cx="46621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ПЕРЕХОД НА УВЕЛИЧЕННЫЙ МЕЖРЕМОНТНЫЙ ПЕРИОД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9155" y="1152769"/>
            <a:ext cx="5878672" cy="2377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 fontAlgn="base"/>
            <a:r>
              <a:rPr lang="ru-RU" sz="1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 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:</a:t>
            </a:r>
          </a:p>
          <a:p>
            <a:pPr marL="171450" indent="-171450" algn="just" fontAlgn="base"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еревести на 3-х летний безостановочный межремонтный период (МРП) работу технологических </a:t>
            </a:r>
            <a:r>
              <a:rPr lang="ru-RU" sz="105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становок 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О «Павлодарский нефтехимических завод»</a:t>
            </a:r>
          </a:p>
          <a:p>
            <a:pPr marL="171450" indent="-171450" algn="just" fontAlgn="base"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величить переработку нефти с 5,3 млн до 6 млн тонн в год</a:t>
            </a:r>
          </a:p>
          <a:p>
            <a:pPr algn="just">
              <a:spcBef>
                <a:spcPts val="100"/>
              </a:spcBef>
              <a:spcAft>
                <a:spcPts val="200"/>
              </a:spcAft>
              <a:defRPr/>
            </a:pPr>
            <a:endParaRPr lang="ru-RU" sz="500" b="1" dirty="0">
              <a:solidFill>
                <a:srgbClr val="002060"/>
              </a:solidFill>
              <a:latin typeface="Arial" panose="020B0604020202020204" pitchFamily="34" charset="0"/>
              <a:ea typeface="Times New Roman" pitchFamily="18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  <a:spcAft>
                <a:spcPts val="200"/>
              </a:spcAft>
              <a:defRPr/>
            </a:pP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Times New Roman" pitchFamily="18" charset="0"/>
                <a:cs typeface="Arial" panose="020B0604020202020204" pitchFamily="34" charset="0"/>
              </a:rPr>
              <a:t>ТЕКУЩИЙ СТАТУС:</a:t>
            </a:r>
          </a:p>
          <a:p>
            <a:pPr lvl="0" algn="just" fontAlgn="base">
              <a:spcBef>
                <a:spcPts val="100"/>
              </a:spcBef>
              <a:spcAft>
                <a:spcPts val="200"/>
              </a:spcAft>
              <a:defRPr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куп услуг на проведение технического аудита ТОО «ПНХЗ» с целью оценки технического состояния оборудования и коммуникаций с учетом эксплуатации, разработки мероприятий, обеспечивающих эксплуатацию в условиях трёхлетнего межремонтного периода.</a:t>
            </a:r>
          </a:p>
          <a:p>
            <a:pPr algn="just">
              <a:spcBef>
                <a:spcPts val="100"/>
              </a:spcBef>
              <a:spcAft>
                <a:spcPts val="200"/>
              </a:spcAft>
              <a:defRPr/>
            </a:pPr>
            <a:endParaRPr lang="en-US" sz="3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  <a:spcAft>
                <a:spcPts val="200"/>
              </a:spcAft>
              <a:defRPr/>
            </a:pPr>
            <a:r>
              <a:rPr lang="ru-RU" sz="1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И </a:t>
            </a:r>
            <a:r>
              <a:rPr lang="ru-RU" sz="1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И </a:t>
            </a:r>
            <a:r>
              <a:rPr lang="ru-RU" sz="1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ЧЕСКОГО АУДИТА:</a:t>
            </a:r>
            <a:r>
              <a:rPr lang="en-US" sz="1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4-2028 гг.</a:t>
            </a:r>
          </a:p>
          <a:p>
            <a:pPr algn="just">
              <a:spcBef>
                <a:spcPts val="100"/>
              </a:spcBef>
              <a:spcAft>
                <a:spcPts val="200"/>
              </a:spcAft>
              <a:defRPr/>
            </a:pPr>
            <a:endParaRPr lang="ru-RU" sz="3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  <a:spcAft>
                <a:spcPts val="200"/>
              </a:spcAft>
              <a:defRPr/>
            </a:pPr>
            <a:r>
              <a:rPr lang="ru-RU" sz="1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А </a:t>
            </a:r>
            <a:r>
              <a:rPr lang="ru-RU" sz="1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МОНТНОГО </a:t>
            </a:r>
            <a:r>
              <a:rPr lang="ru-RU" sz="1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КЛА:</a:t>
            </a:r>
            <a:endParaRPr lang="ru-RU" sz="1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4795" y="3578191"/>
            <a:ext cx="5347613" cy="3130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815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oogle Shape;91;p1"/>
          <p:cNvPicPr preferRelativeResize="0"/>
          <p:nvPr/>
        </p:nvPicPr>
        <p:blipFill rotWithShape="1">
          <a:blip r:embed="rId3">
            <a:alphaModFix/>
          </a:blip>
          <a:srcRect l="15191" t="1489" r="22421" b="11394"/>
          <a:stretch/>
        </p:blipFill>
        <p:spPr>
          <a:xfrm>
            <a:off x="10166157" y="1235616"/>
            <a:ext cx="1990946" cy="194324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5" name="TextBox 14"/>
          <p:cNvSpPr txBox="1"/>
          <p:nvPr/>
        </p:nvSpPr>
        <p:spPr>
          <a:xfrm>
            <a:off x="13597" y="1135710"/>
            <a:ext cx="6048784" cy="1610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endParaRPr lang="ru-RU" sz="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fontAlgn="base">
              <a:spcBef>
                <a:spcPts val="100"/>
              </a:spcBef>
              <a:spcAft>
                <a:spcPct val="0"/>
              </a:spcAft>
            </a:pP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ЕЛЬ ПРОЕКТА: </a:t>
            </a:r>
            <a:endParaRPr lang="en-US" sz="11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fontAlgn="base">
              <a:spcBef>
                <a:spcPts val="100"/>
              </a:spcBef>
              <a:spcAft>
                <a:spcPct val="0"/>
              </a:spcAft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лучение зимнего дизельного топлива  с температурой 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мутнения</a:t>
            </a:r>
            <a:endParaRPr lang="ru-RU" sz="11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fontAlgn="base">
              <a:spcBef>
                <a:spcPts val="100"/>
              </a:spcBef>
              <a:spcAft>
                <a:spcPts val="200"/>
              </a:spcAft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инус 28℃</a:t>
            </a:r>
            <a:endParaRPr lang="kk-KZ" sz="11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ОКИ 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АЛИЗАЦИИ:  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19-2025</a:t>
            </a:r>
          </a:p>
          <a:p>
            <a:pPr>
              <a:spcBef>
                <a:spcPts val="100"/>
              </a:spcBef>
              <a:defRPr/>
            </a:pPr>
            <a:endParaRPr lang="ru-RU" sz="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ИЗВОДИТЕЛЬНОСТЬ УСТАНОВКИ:  </a:t>
            </a:r>
            <a:endParaRPr lang="en-US" sz="11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spcAft>
                <a:spcPts val="200"/>
              </a:spcAft>
              <a:defRPr/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60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ыс. тонн в год 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имнего дизельного топлива</a:t>
            </a:r>
            <a:endParaRPr lang="ru-RU" sz="11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endParaRPr lang="ru-RU" sz="1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ЕНЕРАЛЬНЫЙ ЕРС-ПОДРЯДЧИК:  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О «</a:t>
            </a:r>
            <a:r>
              <a:rPr lang="en-US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PCM Group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 </a:t>
            </a:r>
          </a:p>
          <a:p>
            <a:pPr algn="just">
              <a:spcBef>
                <a:spcPts val="100"/>
              </a:spcBef>
            </a:pPr>
            <a:endParaRPr lang="ru-RU" sz="5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791751" y="6576753"/>
            <a:ext cx="3988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5</a:t>
            </a:r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4028" y="2965241"/>
            <a:ext cx="6005529" cy="1182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100"/>
              </a:spcBef>
              <a:spcAft>
                <a:spcPts val="600"/>
              </a:spcAft>
            </a:pP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КУЩИЙ 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ТАТУС: </a:t>
            </a:r>
          </a:p>
          <a:p>
            <a:pPr algn="just">
              <a:spcBef>
                <a:spcPts val="100"/>
              </a:spcBef>
              <a:spcAft>
                <a:spcPts val="300"/>
              </a:spcAft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едется разработка рабочего проекта;</a:t>
            </a:r>
          </a:p>
          <a:p>
            <a:pPr algn="just">
              <a:spcBef>
                <a:spcPts val="100"/>
              </a:spcBef>
              <a:spcAft>
                <a:spcPts val="300"/>
              </a:spcAft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ключены договора на 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5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зиций 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борудования;</a:t>
            </a:r>
            <a:endParaRPr lang="ru-RU" sz="11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  <a:spcAft>
                <a:spcPts val="300"/>
              </a:spcAft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ведена сессия </a:t>
            </a:r>
            <a:r>
              <a:rPr lang="en-US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HAZOP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и </a:t>
            </a:r>
            <a:r>
              <a:rPr lang="en-US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IL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с компанией </a:t>
            </a:r>
            <a:r>
              <a:rPr lang="en-US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ell Energy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</a:t>
            </a:r>
          </a:p>
          <a:p>
            <a:pPr algn="just">
              <a:spcBef>
                <a:spcPts val="100"/>
              </a:spcBef>
              <a:spcAft>
                <a:spcPts val="300"/>
              </a:spcAft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чаты работы по корректировке 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ЭО с ТОО «КИТНГ». </a:t>
            </a:r>
            <a:endParaRPr lang="ru-RU" sz="11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26" name="Рисунок 625">
            <a:extLst>
              <a:ext uri="{FF2B5EF4-FFF2-40B4-BE49-F238E27FC236}">
                <a16:creationId xmlns:a16="http://schemas.microsoft.com/office/drawing/2014/main" id="{4E311CB8-8A14-4218-93C6-B5685DF7295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332" b="24342"/>
          <a:stretch/>
        </p:blipFill>
        <p:spPr>
          <a:xfrm>
            <a:off x="5068047" y="1205462"/>
            <a:ext cx="607988" cy="318772"/>
          </a:xfrm>
          <a:prstGeom prst="rect">
            <a:avLst/>
          </a:prstGeom>
        </p:spPr>
      </p:pic>
      <p:pic>
        <p:nvPicPr>
          <p:cNvPr id="627" name="Рисунок 626">
            <a:extLst>
              <a:ext uri="{FF2B5EF4-FFF2-40B4-BE49-F238E27FC236}">
                <a16:creationId xmlns:a16="http://schemas.microsoft.com/office/drawing/2014/main" id="{E4DE2BE2-F3FF-467D-AF03-0E509501230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2704" y="1171673"/>
            <a:ext cx="367226" cy="335424"/>
          </a:xfrm>
          <a:prstGeom prst="rect">
            <a:avLst/>
          </a:prstGeom>
        </p:spPr>
      </p:pic>
      <p:cxnSp>
        <p:nvCxnSpPr>
          <p:cNvPr id="79" name="Прямая соединительная линия 78"/>
          <p:cNvCxnSpPr/>
          <p:nvPr/>
        </p:nvCxnSpPr>
        <p:spPr>
          <a:xfrm>
            <a:off x="6151574" y="678825"/>
            <a:ext cx="5324" cy="614919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 flipH="1" flipV="1">
            <a:off x="4780" y="1104597"/>
            <a:ext cx="12185803" cy="4817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Прямоугольник 119"/>
          <p:cNvSpPr/>
          <p:nvPr/>
        </p:nvSpPr>
        <p:spPr>
          <a:xfrm>
            <a:off x="-70845" y="763617"/>
            <a:ext cx="628496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РЕКОНСТРУКЦИЯ УСТАНОВКИ </a:t>
            </a:r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ГО ДТ 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С ИНТЕГРАЦИЕЙ БЛОКА ДЕПАРАФИНИЗАЦИИ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6198915" y="1135710"/>
            <a:ext cx="4232865" cy="15927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/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ЕЛЬ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ЕКТА:</a:t>
            </a:r>
          </a:p>
          <a:p>
            <a:pPr fontAlgn="base">
              <a:spcBef>
                <a:spcPts val="100"/>
              </a:spcBef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беспечение водородом ПНХЗ для целей производства зимнего </a:t>
            </a: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изельного топлива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а также выпуска дополнительного количества светлых нефтепродуктов</a:t>
            </a:r>
          </a:p>
          <a:p>
            <a:pPr fontAlgn="base">
              <a:spcBef>
                <a:spcPts val="100"/>
              </a:spcBef>
            </a:pPr>
            <a:endParaRPr lang="ru-RU" sz="5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ОКИ РЕАЛИЗАЦИИ:</a:t>
            </a:r>
            <a:r>
              <a:rPr lang="en-US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19-2026 гг</a:t>
            </a: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defRPr/>
            </a:pPr>
            <a:endParaRPr lang="ru-RU" sz="400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ИЗВОДИТЕЛЬНОСТЬ УСТАНОВКИ: 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2 500 </a:t>
            </a: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м3/ч</a:t>
            </a:r>
          </a:p>
          <a:p>
            <a:pPr>
              <a:defRPr/>
            </a:pPr>
            <a:endParaRPr lang="ru-RU" sz="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КАЗЧИК (ПОСТАВЩИК): 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О «Эр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Ликид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унай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Тех Газы»</a:t>
            </a:r>
            <a:endParaRPr lang="ru-RU" sz="1000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/>
            <a:endParaRPr lang="ru-RU" sz="4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endParaRPr lang="ru-RU" sz="400" dirty="0" smtClean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Freeform 13"/>
          <p:cNvSpPr>
            <a:spLocks/>
          </p:cNvSpPr>
          <p:nvPr/>
        </p:nvSpPr>
        <p:spPr bwMode="auto">
          <a:xfrm>
            <a:off x="6411223" y="2982513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" name="Прямоугольник 138"/>
          <p:cNvSpPr/>
          <p:nvPr/>
        </p:nvSpPr>
        <p:spPr>
          <a:xfrm>
            <a:off x="6393755" y="761275"/>
            <a:ext cx="558761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СТРОИТЕЛЬСТВО УСТАНОВКИ ПРОИЗВОДСТВА ВОДОРОДА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140" name="Рисунок 13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89"/>
          <a:stretch/>
        </p:blipFill>
        <p:spPr>
          <a:xfrm>
            <a:off x="6421751" y="3977229"/>
            <a:ext cx="1532037" cy="115839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41" name="Рисунок 14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2183" y="3963884"/>
            <a:ext cx="1532037" cy="11741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42" name="Рисунок 14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0086" y="3968114"/>
            <a:ext cx="1532037" cy="1176622"/>
          </a:xfrm>
          <a:prstGeom prst="rect">
            <a:avLst/>
          </a:prstGeom>
          <a:effectLst>
            <a:outerShdw blurRad="190500" dist="50800" algn="ctr" rotWithShape="0">
              <a:srgbClr val="000000">
                <a:alpha val="70000"/>
              </a:srgbClr>
            </a:outerShdw>
          </a:effectLst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9"/>
          <a:srcRect l="4033" r="3625"/>
          <a:stretch/>
        </p:blipFill>
        <p:spPr>
          <a:xfrm>
            <a:off x="6151574" y="5184089"/>
            <a:ext cx="5928360" cy="1630310"/>
          </a:xfrm>
          <a:prstGeom prst="rect">
            <a:avLst/>
          </a:prstGeom>
        </p:spPr>
      </p:pic>
      <p:pic>
        <p:nvPicPr>
          <p:cNvPr id="27" name="Рисунок 26" descr="Изображение выглядит как стальной, инжиниринг, снимок экрана, промышленность&#10;&#10;Автоматически созданное описание">
            <a:extLst>
              <a:ext uri="{FF2B5EF4-FFF2-40B4-BE49-F238E27FC236}">
                <a16:creationId xmlns:a16="http://schemas.microsoft.com/office/drawing/2014/main" id="{92748E34-0161-2EE9-3774-EA01A184F0A1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19" r="935"/>
          <a:stretch/>
        </p:blipFill>
        <p:spPr>
          <a:xfrm>
            <a:off x="175388" y="4350995"/>
            <a:ext cx="2815017" cy="2131695"/>
          </a:xfrm>
          <a:prstGeom prst="rect">
            <a:avLst/>
          </a:prstGeom>
        </p:spPr>
      </p:pic>
      <p:pic>
        <p:nvPicPr>
          <p:cNvPr id="28" name="Рисунок 27" descr="Изображение выглядит как строительство, инжиниринг, на открытом воздухе, завод&#10;&#10;Автоматически созданное описание">
            <a:extLst>
              <a:ext uri="{FF2B5EF4-FFF2-40B4-BE49-F238E27FC236}">
                <a16:creationId xmlns:a16="http://schemas.microsoft.com/office/drawing/2014/main" id="{FB7F8FA9-8BC1-2880-2A87-CFF7368C0A60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3" b="1660"/>
          <a:stretch/>
        </p:blipFill>
        <p:spPr>
          <a:xfrm>
            <a:off x="3110551" y="4350995"/>
            <a:ext cx="2821648" cy="2131695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66000"/>
                    </a14:imgEffect>
                    <a14:imgEffect>
                      <a14:brightnessContrast bright="14000"/>
                    </a14:imgEffect>
                  </a14:imgLayer>
                </a14:imgProps>
              </a:ext>
            </a:extLst>
          </a:blip>
          <a:srcRect l="61050" t="5032" r="-1" b="4903"/>
          <a:stretch/>
        </p:blipFill>
        <p:spPr>
          <a:xfrm>
            <a:off x="3965034" y="1706094"/>
            <a:ext cx="2074650" cy="1503297"/>
          </a:xfrm>
          <a:prstGeom prst="rect">
            <a:avLst/>
          </a:prstGeom>
          <a:ln>
            <a:noFill/>
          </a:ln>
          <a:effectLst>
            <a:softEdge rad="38100"/>
          </a:effectLst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89" y="73603"/>
            <a:ext cx="2124481" cy="559402"/>
          </a:xfrm>
          <a:prstGeom prst="rect">
            <a:avLst/>
          </a:prstGeom>
        </p:spPr>
      </p:pic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9144001" y="193940"/>
            <a:ext cx="30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Ы</a:t>
            </a:r>
            <a:r>
              <a:rPr lang="en-US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Я</a:t>
            </a:r>
            <a:endParaRPr lang="ru-RU" alt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191201" y="2835335"/>
            <a:ext cx="5965902" cy="9900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100"/>
              </a:spcBef>
              <a:defRPr/>
            </a:pP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ТЕКУЩИЙ СТАТУС: </a:t>
            </a:r>
          </a:p>
          <a:p>
            <a:pPr algn="just">
              <a:spcBef>
                <a:spcPts val="100"/>
              </a:spcBef>
              <a:defRPr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PDP разработан 100%, выполняется проектирование E&amp;C Польша;</a:t>
            </a:r>
          </a:p>
          <a:p>
            <a:pPr algn="just">
              <a:spcBef>
                <a:spcPts val="100"/>
              </a:spcBef>
              <a:defRPr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Проведен 1-ый этап HAZOP; </a:t>
            </a:r>
          </a:p>
          <a:p>
            <a:pPr algn="just">
              <a:spcBef>
                <a:spcPts val="100"/>
              </a:spcBef>
              <a:defRPr/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15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декабря 2023г. ИК КМГ 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одобрен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переход на стадию «Определение»</a:t>
            </a:r>
          </a:p>
          <a:p>
            <a:pPr algn="just">
              <a:spcBef>
                <a:spcPts val="100"/>
              </a:spcBef>
              <a:defRPr/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25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декабря 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2023 г. подписано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ДС №11.</a:t>
            </a:r>
          </a:p>
        </p:txBody>
      </p:sp>
    </p:spTree>
    <p:extLst>
      <p:ext uri="{BB962C8B-B14F-4D97-AF65-F5344CB8AC3E}">
        <p14:creationId xmlns:p14="http://schemas.microsoft.com/office/powerpoint/2010/main" val="2678911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" name="Рисунок 105"/>
          <p:cNvPicPr>
            <a:picLocks noChangeAspect="1"/>
          </p:cNvPicPr>
          <p:nvPr/>
        </p:nvPicPr>
        <p:blipFill rotWithShape="1">
          <a:blip r:embed="rId3"/>
          <a:srcRect l="27163" t="19770" r="42519" b="9156"/>
          <a:stretch/>
        </p:blipFill>
        <p:spPr>
          <a:xfrm>
            <a:off x="4168575" y="1651122"/>
            <a:ext cx="2102751" cy="313002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772434" y="6547555"/>
            <a:ext cx="3988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6</a:t>
            </a:r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9" name="Прямая соединительная линия 78"/>
          <p:cNvCxnSpPr/>
          <p:nvPr/>
        </p:nvCxnSpPr>
        <p:spPr>
          <a:xfrm>
            <a:off x="6151574" y="678825"/>
            <a:ext cx="5324" cy="614919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 flipH="1" flipV="1">
            <a:off x="4780" y="1104597"/>
            <a:ext cx="12185803" cy="4817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Freeform 13"/>
          <p:cNvSpPr>
            <a:spLocks/>
          </p:cNvSpPr>
          <p:nvPr/>
        </p:nvSpPr>
        <p:spPr bwMode="auto">
          <a:xfrm>
            <a:off x="6411223" y="2982513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Freeform 13"/>
          <p:cNvSpPr>
            <a:spLocks/>
          </p:cNvSpPr>
          <p:nvPr/>
        </p:nvSpPr>
        <p:spPr bwMode="auto">
          <a:xfrm>
            <a:off x="6393755" y="3508449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89" y="73603"/>
            <a:ext cx="2124481" cy="559402"/>
          </a:xfrm>
          <a:prstGeom prst="rect">
            <a:avLst/>
          </a:prstGeom>
        </p:spPr>
      </p:pic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9079455" y="193940"/>
            <a:ext cx="31125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Ы</a:t>
            </a:r>
            <a:r>
              <a:rPr lang="en-US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Я</a:t>
            </a:r>
            <a:endParaRPr lang="ru-RU" alt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73608" y="669960"/>
            <a:ext cx="60818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«РЕКОНСТРУКЦИИ ПРОИЗВОДСТВА ГЛУБОКОЙ ПЕРЕРАБОТКИ НЕФТИ НА ТОО «ПНХЗ» ДЛЯ ОБЕСПЕЧЕНИЯ НАДЕЖНОЙ И БЕЗАВАРИЙНОЙ РАБОТЫ»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4780" y="1165956"/>
            <a:ext cx="6017784" cy="309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spcBef>
                <a:spcPts val="10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ЕЛЬ ПРОЕКТА:</a:t>
            </a:r>
          </a:p>
          <a:p>
            <a:pPr fontAlgn="base">
              <a:spcBef>
                <a:spcPts val="100"/>
              </a:spcBef>
              <a:spcAft>
                <a:spcPct val="0"/>
              </a:spcAft>
            </a:pPr>
            <a:endParaRPr lang="ru-RU" sz="800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fontAlgn="base">
              <a:spcBef>
                <a:spcPts val="100"/>
              </a:spcBef>
              <a:spcAft>
                <a:spcPct val="0"/>
              </a:spcAft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зультаты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тчетов анализов надежности оборудования производства глубокой переработки нефти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</a:t>
            </a:r>
          </a:p>
          <a:p>
            <a:pPr fontAlgn="base">
              <a:spcBef>
                <a:spcPts val="100"/>
              </a:spcBef>
              <a:spcAft>
                <a:spcPct val="0"/>
              </a:spcAft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грамма по приведению работы технологических установок и ОЗХ в соответствие с требованиями Лицензиара.</a:t>
            </a:r>
          </a:p>
          <a:p>
            <a:pPr>
              <a:spcBef>
                <a:spcPts val="100"/>
              </a:spcBef>
              <a:defRPr/>
            </a:pPr>
            <a:endParaRPr lang="en-US" sz="5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sz="500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ОКИ РЕАЛИЗАЦИИ 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ЕКТА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  <a:p>
            <a:pPr>
              <a:defRPr/>
            </a:pPr>
            <a:endParaRPr lang="ru-RU" sz="500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П разделен на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4 пусковых 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мплекса с 2024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 2028 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ода.</a:t>
            </a:r>
            <a:endParaRPr lang="en-US" sz="1100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endParaRPr lang="en-US" sz="500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ЗРАБОТЧИК РАБОЧЕГО ПРОЕКТА:</a:t>
            </a:r>
          </a:p>
          <a:p>
            <a:pPr algn="just"/>
            <a:endParaRPr lang="ru-RU" sz="500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О «ЭОН </a:t>
            </a:r>
            <a:r>
              <a:rPr lang="ru-RU" sz="1100" dirty="0" err="1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Энерго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</a:t>
            </a:r>
            <a:endParaRPr lang="en-US" sz="1100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/>
            <a:endParaRPr lang="ru-RU" sz="200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endParaRPr lang="ru-RU" sz="5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КУЩИЙ СТАТУС: </a:t>
            </a:r>
          </a:p>
          <a:p>
            <a:pPr algn="just">
              <a:spcBef>
                <a:spcPts val="100"/>
              </a:spcBef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зработка рабочей документации - 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00%</a:t>
            </a:r>
          </a:p>
          <a:p>
            <a:pPr algn="just">
              <a:spcBef>
                <a:spcPts val="100"/>
              </a:spcBef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лучено положительное заключение</a:t>
            </a:r>
          </a:p>
          <a:p>
            <a:pPr algn="just">
              <a:spcBef>
                <a:spcPts val="100"/>
              </a:spcBef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осударственной экспертизы. </a:t>
            </a:r>
          </a:p>
        </p:txBody>
      </p:sp>
      <p:pic>
        <p:nvPicPr>
          <p:cNvPr id="69" name="Picture 2" descr="C:\Users\ERNAR\Desktop\Yerlan\uop_logo.gi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1965" y="3944146"/>
            <a:ext cx="708595" cy="403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Рисунок 6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4" t="21856" r="4553" b="22827"/>
          <a:stretch/>
        </p:blipFill>
        <p:spPr>
          <a:xfrm>
            <a:off x="3593420" y="3263687"/>
            <a:ext cx="726730" cy="406364"/>
          </a:xfrm>
          <a:prstGeom prst="rect">
            <a:avLst/>
          </a:prstGeom>
        </p:spPr>
      </p:pic>
      <p:sp>
        <p:nvSpPr>
          <p:cNvPr id="96" name="Прямоугольник 95"/>
          <p:cNvSpPr/>
          <p:nvPr/>
        </p:nvSpPr>
        <p:spPr>
          <a:xfrm>
            <a:off x="478499" y="4900264"/>
            <a:ext cx="1196161" cy="2566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70">
              <a:lnSpc>
                <a:spcPct val="89000"/>
              </a:lnSpc>
            </a:pPr>
            <a:r>
              <a:rPr lang="ru-RU" sz="1200" b="1" dirty="0" smtClean="0">
                <a:solidFill>
                  <a:schemeClr val="accent5">
                    <a:lumMod val="75000"/>
                  </a:schemeClr>
                </a:solidFill>
                <a:latin typeface="Open Sans Light"/>
              </a:rPr>
              <a:t>Секция С-100</a:t>
            </a:r>
            <a:endParaRPr lang="ru-RU" sz="1200" b="1" dirty="0">
              <a:solidFill>
                <a:schemeClr val="accent5">
                  <a:lumMod val="75000"/>
                </a:schemeClr>
              </a:solidFill>
              <a:latin typeface="Open Sans Light"/>
            </a:endParaRPr>
          </a:p>
        </p:txBody>
      </p:sp>
      <p:sp>
        <p:nvSpPr>
          <p:cNvPr id="97" name="Прямоугольник 96"/>
          <p:cNvSpPr/>
          <p:nvPr/>
        </p:nvSpPr>
        <p:spPr>
          <a:xfrm>
            <a:off x="2550873" y="4900264"/>
            <a:ext cx="1196161" cy="2566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70">
              <a:lnSpc>
                <a:spcPct val="89000"/>
              </a:lnSpc>
            </a:pP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Open Sans Light"/>
              </a:rPr>
              <a:t>Секция </a:t>
            </a:r>
            <a:r>
              <a:rPr lang="ru-RU" sz="1200" b="1" dirty="0" smtClean="0">
                <a:solidFill>
                  <a:schemeClr val="accent5">
                    <a:lumMod val="75000"/>
                  </a:schemeClr>
                </a:solidFill>
                <a:latin typeface="Open Sans Light"/>
              </a:rPr>
              <a:t>С-200</a:t>
            </a:r>
            <a:endParaRPr lang="ru-RU" sz="1200" b="1" dirty="0">
              <a:solidFill>
                <a:schemeClr val="accent5">
                  <a:lumMod val="75000"/>
                </a:schemeClr>
              </a:solidFill>
              <a:latin typeface="Open Sans Light"/>
            </a:endParaRPr>
          </a:p>
        </p:txBody>
      </p:sp>
      <p:sp>
        <p:nvSpPr>
          <p:cNvPr id="98" name="Прямоугольник 97"/>
          <p:cNvSpPr/>
          <p:nvPr/>
        </p:nvSpPr>
        <p:spPr>
          <a:xfrm>
            <a:off x="4562140" y="4862596"/>
            <a:ext cx="1196161" cy="2566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70">
              <a:lnSpc>
                <a:spcPct val="89000"/>
              </a:lnSpc>
            </a:pP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Open Sans Light"/>
              </a:rPr>
              <a:t>Секция </a:t>
            </a:r>
            <a:r>
              <a:rPr lang="ru-RU" sz="1200" b="1" dirty="0" smtClean="0">
                <a:solidFill>
                  <a:schemeClr val="accent5">
                    <a:lumMod val="75000"/>
                  </a:schemeClr>
                </a:solidFill>
                <a:latin typeface="Open Sans Light"/>
              </a:rPr>
              <a:t>С-300</a:t>
            </a:r>
            <a:endParaRPr lang="ru-RU" sz="1200" b="1" dirty="0">
              <a:solidFill>
                <a:schemeClr val="accent5">
                  <a:lumMod val="75000"/>
                </a:schemeClr>
              </a:solidFill>
              <a:latin typeface="Open Sans Light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83549" y="5253517"/>
            <a:ext cx="1999541" cy="1303304"/>
            <a:chOff x="485760" y="4399011"/>
            <a:chExt cx="1599975" cy="837875"/>
          </a:xfrm>
        </p:grpSpPr>
        <p:pic>
          <p:nvPicPr>
            <p:cNvPr id="94" name="Рисунок 93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85760" y="4425215"/>
              <a:ext cx="1589187" cy="801215"/>
            </a:xfrm>
            <a:prstGeom prst="rect">
              <a:avLst/>
            </a:prstGeom>
          </p:spPr>
        </p:pic>
        <p:sp>
          <p:nvSpPr>
            <p:cNvPr id="99" name="Прямоугольник 98"/>
            <p:cNvSpPr/>
            <p:nvPr/>
          </p:nvSpPr>
          <p:spPr>
            <a:xfrm>
              <a:off x="501394" y="4399011"/>
              <a:ext cx="1584341" cy="837875"/>
            </a:xfrm>
            <a:prstGeom prst="rect">
              <a:avLst/>
            </a:prstGeom>
            <a:noFill/>
            <a:ln>
              <a:solidFill>
                <a:schemeClr val="accent1">
                  <a:shade val="50000"/>
                  <a:alpha val="28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2186417" y="5253517"/>
            <a:ext cx="1886460" cy="1303304"/>
            <a:chOff x="2295574" y="4392662"/>
            <a:chExt cx="1615725" cy="853137"/>
          </a:xfrm>
        </p:grpSpPr>
        <p:pic>
          <p:nvPicPr>
            <p:cNvPr id="93" name="Рисунок 92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295574" y="4415135"/>
              <a:ext cx="1615725" cy="816179"/>
            </a:xfrm>
            <a:prstGeom prst="rect">
              <a:avLst/>
            </a:prstGeom>
          </p:spPr>
        </p:pic>
        <p:sp>
          <p:nvSpPr>
            <p:cNvPr id="100" name="Прямоугольник 99"/>
            <p:cNvSpPr/>
            <p:nvPr/>
          </p:nvSpPr>
          <p:spPr>
            <a:xfrm>
              <a:off x="2295574" y="4392662"/>
              <a:ext cx="1615725" cy="853137"/>
            </a:xfrm>
            <a:prstGeom prst="rect">
              <a:avLst/>
            </a:prstGeom>
            <a:noFill/>
            <a:ln>
              <a:solidFill>
                <a:schemeClr val="accent1">
                  <a:shade val="50000"/>
                  <a:alpha val="28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4191444" y="5253517"/>
            <a:ext cx="1889789" cy="1303304"/>
            <a:chOff x="4027815" y="4392662"/>
            <a:chExt cx="1643699" cy="853137"/>
          </a:xfrm>
        </p:grpSpPr>
        <p:pic>
          <p:nvPicPr>
            <p:cNvPr id="92" name="Рисунок 91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093197" y="4421485"/>
              <a:ext cx="1554480" cy="816179"/>
            </a:xfrm>
            <a:prstGeom prst="rect">
              <a:avLst/>
            </a:prstGeom>
          </p:spPr>
        </p:pic>
        <p:sp>
          <p:nvSpPr>
            <p:cNvPr id="101" name="Прямоугольник 100"/>
            <p:cNvSpPr/>
            <p:nvPr/>
          </p:nvSpPr>
          <p:spPr>
            <a:xfrm>
              <a:off x="4027815" y="4392662"/>
              <a:ext cx="1643699" cy="853137"/>
            </a:xfrm>
            <a:prstGeom prst="rect">
              <a:avLst/>
            </a:prstGeom>
            <a:noFill/>
            <a:ln>
              <a:solidFill>
                <a:schemeClr val="accent1">
                  <a:shade val="50000"/>
                  <a:alpha val="28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08" name="Прямоугольник 107"/>
          <p:cNvSpPr/>
          <p:nvPr/>
        </p:nvSpPr>
        <p:spPr>
          <a:xfrm>
            <a:off x="6240739" y="666695"/>
            <a:ext cx="60818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«СТРОИТЕЛЬСТВО СИСТЕМЫ НАЛИВА СВЕТЛЫХ НЕФТЕПРОДУКТОВ </a:t>
            </a:r>
          </a:p>
          <a:p>
            <a:pPr algn="ctr"/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В Ж/Д ЦИСТЕРНЫ» (АУТН)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6182628" y="1172385"/>
            <a:ext cx="6009371" cy="2811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spcBef>
                <a:spcPts val="10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ЕЛЬ ПРОЕКТА</a:t>
            </a: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  <a:p>
            <a:pPr lvl="0" fontAlgn="base">
              <a:spcBef>
                <a:spcPts val="100"/>
              </a:spcBef>
              <a:spcAft>
                <a:spcPct val="0"/>
              </a:spcAft>
            </a:pPr>
            <a:endParaRPr lang="ru-RU" sz="5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ts val="100"/>
              </a:spcBef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оответствие Закону «О государственном регулировании производства и оборота отдельных видов нефтепродуктов».</a:t>
            </a:r>
          </a:p>
          <a:p>
            <a:pPr algn="just" fontAlgn="base">
              <a:spcBef>
                <a:spcPts val="100"/>
              </a:spcBef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ерметичный налива светлых нефтепродуктов с улавливанием паров нефтепродуктов.</a:t>
            </a:r>
          </a:p>
          <a:p>
            <a:pPr algn="just" fontAlgn="base">
              <a:spcBef>
                <a:spcPts val="100"/>
              </a:spcBef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лучшение уровня пожарной безопасности и охраны труда.</a:t>
            </a:r>
          </a:p>
          <a:p>
            <a:pPr>
              <a:spcBef>
                <a:spcPts val="100"/>
              </a:spcBef>
              <a:defRPr/>
            </a:pPr>
            <a:endParaRPr lang="ru-RU" sz="8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fontAlgn="base">
              <a:spcBef>
                <a:spcPts val="10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ЕДПОСЫЛКИ РЕАЛИЗАЦИИ ПРОЕКТА:</a:t>
            </a:r>
          </a:p>
          <a:p>
            <a:pPr algn="just" fontAlgn="base">
              <a:spcBef>
                <a:spcPts val="100"/>
              </a:spcBef>
            </a:pPr>
            <a:endParaRPr lang="ru-RU" sz="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ts val="100"/>
              </a:spcBef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становление Правительства №644 от 21 сентября 2021 об утверждении «Комплексного плана мероприятий по противодействию теневой экономике»</a:t>
            </a:r>
          </a:p>
          <a:p>
            <a:pPr algn="just" fontAlgn="base">
              <a:spcBef>
                <a:spcPts val="100"/>
              </a:spcBef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токол НТС КМГ № 22-06 от 30 июня 2022г. о технической целесообразности реализации проекта</a:t>
            </a: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 algn="just" fontAlgn="base">
              <a:spcBef>
                <a:spcPts val="100"/>
              </a:spcBef>
            </a:pPr>
            <a:endParaRPr lang="ru-RU" sz="7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ОКИ 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АЛИЗАЦИИ ПРОЕКТА: </a:t>
            </a: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3-2027 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г</a:t>
            </a: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00"/>
              </a:spcBef>
              <a:defRPr/>
            </a:pPr>
            <a:endParaRPr lang="ru-RU" sz="8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КУЩИЙ СТАТУС: </a:t>
            </a:r>
          </a:p>
          <a:p>
            <a:pPr algn="just">
              <a:spcBef>
                <a:spcPts val="100"/>
              </a:spcBef>
            </a:pP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едутся работы по разработке ТЭО с ТОО «КИТНГ».</a:t>
            </a:r>
            <a:endParaRPr lang="ru-RU" sz="10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4" name="Рисунок 113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87" r="10259"/>
          <a:stretch/>
        </p:blipFill>
        <p:spPr>
          <a:xfrm>
            <a:off x="6300690" y="5290696"/>
            <a:ext cx="1805604" cy="12214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115" name="Таблица 1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0155118"/>
              </p:ext>
            </p:extLst>
          </p:nvPr>
        </p:nvGraphicFramePr>
        <p:xfrm>
          <a:off x="6297055" y="3986111"/>
          <a:ext cx="5684297" cy="120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90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988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988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9746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родукт</a:t>
                      </a:r>
                    </a:p>
                  </a:txBody>
                  <a:tcPr marT="3600" marB="360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роизводительность</a:t>
                      </a:r>
                    </a:p>
                  </a:txBody>
                  <a:tcPr marT="3600" marB="360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Количество, 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ж/д цистерн / сутки</a:t>
                      </a:r>
                    </a:p>
                  </a:txBody>
                  <a:tcPr marT="3600" marB="360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058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3600" marB="36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тонн/сутки</a:t>
                      </a:r>
                      <a:endParaRPr lang="ru-RU" sz="10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3600" marB="360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тыс. тонн/год</a:t>
                      </a:r>
                    </a:p>
                  </a:txBody>
                  <a:tcPr marT="3600" marB="360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549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АИ-92-К4</a:t>
                      </a:r>
                    </a:p>
                  </a:txBody>
                  <a:tcPr marT="3600" marB="360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</a:rPr>
                        <a:t>4 220</a:t>
                      </a:r>
                      <a:endParaRPr lang="ru-RU" sz="11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</a:rPr>
                        <a:t>1 540</a:t>
                      </a:r>
                      <a:endParaRPr lang="ru-RU" sz="11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</a:rPr>
                        <a:t>73</a:t>
                      </a:r>
                      <a:endParaRPr lang="ru-RU" sz="11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2707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АИ-95-К4</a:t>
                      </a:r>
                      <a:r>
                        <a:rPr lang="ru-RU" sz="10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и </a:t>
                      </a:r>
                      <a:r>
                        <a:rPr lang="ru-RU" sz="10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АИ-98-К4</a:t>
                      </a:r>
                    </a:p>
                  </a:txBody>
                  <a:tcPr marT="3600" marB="360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</a:rPr>
                        <a:t>2 000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</a:rPr>
                        <a:t>730</a:t>
                      </a:r>
                      <a:endParaRPr lang="ru-RU" sz="11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</a:rPr>
                        <a:t>34</a:t>
                      </a:r>
                      <a:endParaRPr lang="ru-RU" sz="11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2707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ДТ-Л-К4</a:t>
                      </a:r>
                      <a:r>
                        <a:rPr lang="ru-RU" sz="10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и ДТ-З-К4</a:t>
                      </a:r>
                      <a:endParaRPr lang="ru-RU" sz="10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3600" marB="360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</a:rPr>
                        <a:t>7 000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</a:rPr>
                        <a:t>2 555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</a:rPr>
                        <a:t>121</a:t>
                      </a:r>
                      <a:endParaRPr lang="ru-RU" sz="11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2707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РТ</a:t>
                      </a:r>
                    </a:p>
                  </a:txBody>
                  <a:tcPr marT="3600" marB="360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</a:rPr>
                        <a:t>2 000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</a:rPr>
                        <a:t>730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</a:rPr>
                        <a:t>34</a:t>
                      </a:r>
                      <a:endParaRPr lang="ru-RU" sz="11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2707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  <a:sym typeface="Symbol"/>
                        </a:rPr>
                        <a:t>Сумма</a:t>
                      </a:r>
                      <a:endParaRPr lang="ru-RU" sz="10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3600" marB="360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</a:rPr>
                        <a:t>15 220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</a:rPr>
                        <a:t>5 555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</a:rPr>
                        <a:t>262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116" name="Рисунок 115">
            <a:extLst>
              <a:ext uri="{FF2B5EF4-FFF2-40B4-BE49-F238E27FC236}">
                <a16:creationId xmlns:a16="http://schemas.microsoft.com/office/drawing/2014/main" id="{8E856C9C-A433-430A-80F5-0372F88CCFAA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27" r="12453" b="7985"/>
          <a:stretch/>
        </p:blipFill>
        <p:spPr>
          <a:xfrm flipH="1">
            <a:off x="10251089" y="5290696"/>
            <a:ext cx="1739905" cy="1221436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17" name="Рисунок 11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4830" y="5290696"/>
            <a:ext cx="1765987" cy="1221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695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Группа 25"/>
          <p:cNvGrpSpPr/>
          <p:nvPr/>
        </p:nvGrpSpPr>
        <p:grpSpPr>
          <a:xfrm>
            <a:off x="6313459" y="3578579"/>
            <a:ext cx="5720562" cy="3020449"/>
            <a:chOff x="5013506" y="1098611"/>
            <a:chExt cx="7178494" cy="4097707"/>
          </a:xfrm>
        </p:grpSpPr>
        <p:grpSp>
          <p:nvGrpSpPr>
            <p:cNvPr id="27" name="Группа 26"/>
            <p:cNvGrpSpPr/>
            <p:nvPr/>
          </p:nvGrpSpPr>
          <p:grpSpPr>
            <a:xfrm>
              <a:off x="5013506" y="1098611"/>
              <a:ext cx="7178494" cy="4097707"/>
              <a:chOff x="5013506" y="1098611"/>
              <a:chExt cx="7178494" cy="4097707"/>
            </a:xfrm>
          </p:grpSpPr>
          <p:grpSp>
            <p:nvGrpSpPr>
              <p:cNvPr id="29" name="Группа 28"/>
              <p:cNvGrpSpPr/>
              <p:nvPr/>
            </p:nvGrpSpPr>
            <p:grpSpPr>
              <a:xfrm>
                <a:off x="5013506" y="1098611"/>
                <a:ext cx="7178494" cy="4097707"/>
                <a:chOff x="2011681" y="1347249"/>
                <a:chExt cx="7612634" cy="3899425"/>
              </a:xfrm>
            </p:grpSpPr>
            <p:pic>
              <p:nvPicPr>
                <p:cNvPr id="44" name="Рисунок 43"/>
                <p:cNvPicPr>
                  <a:picLocks noChangeAspect="1"/>
                </p:cNvPicPr>
                <p:nvPr/>
              </p:nvPicPr>
              <p:blipFill rotWithShape="1">
                <a:blip r:embed="rId3"/>
                <a:srcRect r="2298"/>
                <a:stretch/>
              </p:blipFill>
              <p:spPr>
                <a:xfrm>
                  <a:off x="2011681" y="1347249"/>
                  <a:ext cx="7612634" cy="3899425"/>
                </a:xfrm>
                <a:prstGeom prst="rect">
                  <a:avLst/>
                </a:prstGeom>
              </p:spPr>
            </p:pic>
            <p:sp>
              <p:nvSpPr>
                <p:cNvPr id="45" name="Блок-схема: задержка 44"/>
                <p:cNvSpPr/>
                <p:nvPr/>
              </p:nvSpPr>
              <p:spPr>
                <a:xfrm rot="10800000">
                  <a:off x="3790950" y="3994021"/>
                  <a:ext cx="536448" cy="282648"/>
                </a:xfrm>
                <a:prstGeom prst="flowChartDelay">
                  <a:avLst/>
                </a:prstGeom>
                <a:solidFill>
                  <a:schemeClr val="bg2">
                    <a:lumMod val="50000"/>
                  </a:schemeClr>
                </a:solidFill>
                <a:ln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pic>
              <p:nvPicPr>
                <p:cNvPr id="46" name="Picture 2" descr="18c48f2167325e80f4f1"/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889733" y="4024501"/>
                  <a:ext cx="685373" cy="2510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7" name="Рисунок 46"/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49303" y="4176173"/>
                  <a:ext cx="986158" cy="259666"/>
                </a:xfrm>
                <a:prstGeom prst="rect">
                  <a:avLst/>
                </a:prstGeom>
              </p:spPr>
            </p:pic>
          </p:grpSp>
          <p:sp>
            <p:nvSpPr>
              <p:cNvPr id="30" name="Блок-схема: задержка 29"/>
              <p:cNvSpPr/>
              <p:nvPr/>
            </p:nvSpPr>
            <p:spPr>
              <a:xfrm rot="10800000">
                <a:off x="8910630" y="2943291"/>
                <a:ext cx="505855" cy="297020"/>
              </a:xfrm>
              <a:prstGeom prst="flowChartDelay">
                <a:avLst/>
              </a:prstGeom>
              <a:solidFill>
                <a:schemeClr val="bg2">
                  <a:lumMod val="50000"/>
                </a:schemeClr>
              </a:solidFill>
              <a:ln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31" name="Picture 2" descr="18c48f2167325e80f4f1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003780" y="2975321"/>
                <a:ext cx="646287" cy="2637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28387" y="3134705"/>
              <a:ext cx="929919" cy="272870"/>
            </a:xfrm>
            <a:prstGeom prst="rect">
              <a:avLst/>
            </a:prstGeom>
          </p:spPr>
        </p:pic>
      </p:grpSp>
      <p:sp>
        <p:nvSpPr>
          <p:cNvPr id="95" name="TextBox 94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772434" y="6547555"/>
            <a:ext cx="3988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7</a:t>
            </a:r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9" name="Прямая соединительная линия 78"/>
          <p:cNvCxnSpPr/>
          <p:nvPr/>
        </p:nvCxnSpPr>
        <p:spPr>
          <a:xfrm>
            <a:off x="6151574" y="678825"/>
            <a:ext cx="5324" cy="614919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 flipH="1" flipV="1">
            <a:off x="4780" y="1104597"/>
            <a:ext cx="12185803" cy="4817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Freeform 13"/>
          <p:cNvSpPr>
            <a:spLocks/>
          </p:cNvSpPr>
          <p:nvPr/>
        </p:nvSpPr>
        <p:spPr bwMode="auto">
          <a:xfrm>
            <a:off x="6411223" y="2982513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Freeform 13"/>
          <p:cNvSpPr>
            <a:spLocks/>
          </p:cNvSpPr>
          <p:nvPr/>
        </p:nvSpPr>
        <p:spPr bwMode="auto">
          <a:xfrm>
            <a:off x="6393755" y="3508449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89" y="73603"/>
            <a:ext cx="2124481" cy="559402"/>
          </a:xfrm>
          <a:prstGeom prst="rect">
            <a:avLst/>
          </a:prstGeom>
        </p:spPr>
      </p:pic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9281672" y="180785"/>
            <a:ext cx="282909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ЕКТЫ</a:t>
            </a:r>
            <a:r>
              <a:rPr lang="en-US" alt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ЗВИТИЯ</a:t>
            </a:r>
            <a:endParaRPr lang="ru-RU" altLang="ru-RU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88713" y="754709"/>
            <a:ext cx="60818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СТАНЦИЯ ФИЛЬТРОВАНИЯ СТОКОВ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6240739" y="666695"/>
            <a:ext cx="60818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СТРОИТЕЛЬСТВО РЕЗЕРВУАРОВ ДЛЯ ХРАНЕНИЯ ДОРОЖНОГО </a:t>
            </a:r>
          </a:p>
          <a:p>
            <a:pPr algn="ctr"/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БИТУМА УСТАНОВКИ ПРОИЗВОДСТВА БИТУМОВ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6170579" y="1153327"/>
            <a:ext cx="6000687" cy="1159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ts val="100"/>
              </a:spcBef>
              <a:spcAft>
                <a:spcPct val="0"/>
              </a:spcAft>
            </a:pP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ЕДПОСЫЛКИ РЕАЛИЗАЦИИ ПРОЕКТА:</a:t>
            </a:r>
          </a:p>
          <a:p>
            <a:pPr marL="171450" indent="-171450" algn="just" fontAlgn="base"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тсутствие технологических схем, позволяющих осуществлять накопление и последующую отгрузку битума в остановочной и зимний период;</a:t>
            </a:r>
            <a:endParaRPr lang="en-US" sz="1100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ts val="100"/>
              </a:spcBef>
            </a:pPr>
            <a:endParaRPr lang="en-US" sz="600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algn="just" fontAlgn="base"/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ЕЛЬ ПРОЕКТА:</a:t>
            </a:r>
          </a:p>
          <a:p>
            <a:pPr marL="171450" indent="-171450" algn="just" fontAlgn="base"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беспечение стабильной отгрузки битума в периоды повышенного спроса.</a:t>
            </a:r>
            <a:endParaRPr lang="en-US" sz="1100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ts val="100"/>
              </a:spcBef>
            </a:pPr>
            <a:endParaRPr lang="ru-RU" sz="5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6170579" y="2181603"/>
            <a:ext cx="6096000" cy="1585049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Bef>
                <a:spcPts val="100"/>
              </a:spcBef>
              <a:spcAft>
                <a:spcPts val="200"/>
              </a:spcAft>
              <a:defRPr/>
            </a:pP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ОКИ РЕАЛИЗАЦИИ: 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4-2026 гг.</a:t>
            </a:r>
            <a:endParaRPr lang="ru-RU" sz="11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  <a:spcAft>
                <a:spcPts val="200"/>
              </a:spcAft>
              <a:defRPr/>
            </a:pPr>
            <a:endParaRPr lang="ru-RU" sz="500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  <a:spcAft>
                <a:spcPts val="200"/>
              </a:spcAft>
              <a:defRPr/>
            </a:pP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ИЗВОДИТЕЛЬНОСТЬ: 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2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000 тонн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spcBef>
                <a:spcPts val="100"/>
              </a:spcBef>
              <a:spcAft>
                <a:spcPts val="200"/>
              </a:spcAft>
              <a:defRPr/>
            </a:pP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КУЩИЙ СТАТУС:</a:t>
            </a:r>
          </a:p>
          <a:p>
            <a:pPr marL="171450" indent="-171450" algn="just">
              <a:spcBef>
                <a:spcPts val="1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лучены ТКП на проектирование и оценка предварительной стоимости реализации проекта; </a:t>
            </a:r>
          </a:p>
          <a:p>
            <a:pPr marL="171450" indent="-171450" algn="just">
              <a:spcBef>
                <a:spcPts val="1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рпоративные процедуры для перехода на стадию Проектирование</a:t>
            </a:r>
            <a:r>
              <a:rPr lang="ru-RU" sz="1100" dirty="0">
                <a:latin typeface="Century Gothic" panose="020B0502020202020204" pitchFamily="34" charset="0"/>
                <a:cs typeface="Arial" panose="020B0604020202020204" pitchFamily="34" charset="0"/>
              </a:rPr>
              <a:t>;</a:t>
            </a:r>
          </a:p>
          <a:p>
            <a:pPr algn="just">
              <a:spcBef>
                <a:spcPts val="100"/>
              </a:spcBef>
              <a:spcAft>
                <a:spcPts val="200"/>
              </a:spcAft>
              <a:defRPr/>
            </a:pPr>
            <a:endParaRPr lang="ru-RU" sz="11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780" y="1131336"/>
            <a:ext cx="6017784" cy="28341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spcBef>
                <a:spcPts val="10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ЕЛЬ ПРОЕКТА:</a:t>
            </a:r>
          </a:p>
          <a:p>
            <a:pPr marL="171450" indent="-171450" algn="just" fontAlgn="base"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нижение затрат на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агентную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обработку вод оборотных циклов</a:t>
            </a:r>
          </a:p>
          <a:p>
            <a:pPr marL="171450" indent="-171450" algn="just" fontAlgn="base"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лучшение качества подпитывающей воды, поступающей на блок оборотного водоснабжения </a:t>
            </a:r>
          </a:p>
          <a:p>
            <a:pPr>
              <a:spcBef>
                <a:spcPts val="100"/>
              </a:spcBef>
              <a:defRPr/>
            </a:pPr>
            <a:endParaRPr lang="en-US" sz="5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ОКИ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АЛИЗАЦИИ 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ЕКТА: 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3-2024 гг.</a:t>
            </a:r>
          </a:p>
          <a:p>
            <a:pPr>
              <a:spcBef>
                <a:spcPts val="100"/>
              </a:spcBef>
              <a:defRPr/>
            </a:pPr>
            <a:endParaRPr lang="en-US" sz="500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МР ПОДРЯДЧИК: 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О «AVC-</a:t>
            </a:r>
            <a:r>
              <a:rPr lang="ru-RU" sz="1100" dirty="0" err="1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roduction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</a:t>
            </a:r>
          </a:p>
          <a:p>
            <a:pPr>
              <a:spcBef>
                <a:spcPts val="100"/>
              </a:spcBef>
              <a:defRPr/>
            </a:pPr>
            <a:endParaRPr lang="ru-RU" sz="5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КУЩИЙ СТАТУС: </a:t>
            </a:r>
          </a:p>
          <a:p>
            <a:pPr algn="just">
              <a:spcBef>
                <a:spcPts val="100"/>
              </a:spcBef>
              <a:spcAft>
                <a:spcPts val="200"/>
              </a:spcAft>
              <a:defRPr/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бщая готовность объекта – 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6,0% </a:t>
            </a:r>
          </a:p>
          <a:p>
            <a:pPr marL="171450" indent="-171450">
              <a:buFontTx/>
              <a:buChar char="-"/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вершены работы нулевого цикла и монтаж металлоконструкций каркаса;</a:t>
            </a:r>
          </a:p>
          <a:p>
            <a:pPr marL="171450" indent="-171450">
              <a:buFontTx/>
              <a:buChar char="-"/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боты по монтажу ограждающих конструкций находятся в заключительной стадии;</a:t>
            </a:r>
          </a:p>
          <a:p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- основное технологическое оборудование: насосная станция </a:t>
            </a:r>
            <a:r>
              <a:rPr lang="en-US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Q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=300 м3/ч и фильтра HUBER CONTIFLOW в количестве 6-ти штук поставлены на завод.</a:t>
            </a:r>
          </a:p>
          <a:p>
            <a:pPr algn="just">
              <a:spcBef>
                <a:spcPts val="100"/>
              </a:spcBef>
            </a:pPr>
            <a:endParaRPr lang="ru-RU" sz="11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450DEAB1-5DC9-B6EA-23BE-BAF2EF5CEB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5475" y="3986404"/>
            <a:ext cx="4996393" cy="2794504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</p:spTree>
    <p:extLst>
      <p:ext uri="{BB962C8B-B14F-4D97-AF65-F5344CB8AC3E}">
        <p14:creationId xmlns:p14="http://schemas.microsoft.com/office/powerpoint/2010/main" val="1038780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>
            <a:off x="442597" y="979166"/>
            <a:ext cx="4267800" cy="2641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ts val="10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ЕДПОСЫЛКИ РЕАЛИЗАЦИИ ПРОЕКТА</a:t>
            </a: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  <a:endParaRPr lang="ru-RU" sz="10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defRPr/>
            </a:pP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еудовлетворительное техническое состояние компрессоров</a:t>
            </a:r>
            <a:endParaRPr lang="ru-RU" sz="2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fontAlgn="base">
              <a:spcBef>
                <a:spcPts val="100"/>
              </a:spcBef>
              <a:spcAft>
                <a:spcPct val="0"/>
              </a:spcAft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ЕЛЬ 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ЕКТА</a:t>
            </a: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</a:t>
            </a:r>
            <a:endParaRPr lang="en-US" sz="10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fontAlgn="base">
              <a:spcBef>
                <a:spcPts val="100"/>
              </a:spcBef>
              <a:spcAft>
                <a:spcPct val="0"/>
              </a:spcAft>
            </a:pP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есперебойное обеспечение воздухом производств ТОО ПНХЗ</a:t>
            </a:r>
            <a:endParaRPr lang="kk-KZ" sz="200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ОКИ 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АЛИЗАЦИИ ОСНОВНЫХ ЭТАПОВ</a:t>
            </a: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 </a:t>
            </a:r>
            <a:endParaRPr lang="en-US" sz="10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19-2024</a:t>
            </a:r>
          </a:p>
          <a:p>
            <a:pPr>
              <a:spcBef>
                <a:spcPts val="100"/>
              </a:spcBef>
              <a:defRPr/>
            </a:pPr>
            <a:endParaRPr lang="ru-RU" sz="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УММАРНАЯ ПРОИЗВОДИТЕЛЬНОСТЬ КОМПРЕССОРОВ:  </a:t>
            </a:r>
            <a:endParaRPr lang="en-US" sz="10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4 500 м³/час.</a:t>
            </a:r>
          </a:p>
          <a:p>
            <a:pPr>
              <a:spcBef>
                <a:spcPts val="100"/>
              </a:spcBef>
              <a:defRPr/>
            </a:pPr>
            <a:endParaRPr lang="ru-RU" sz="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ЕНЕРАЛЬНЫЙ </a:t>
            </a: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ЕКТИРОВЩИК</a:t>
            </a:r>
            <a:endParaRPr lang="en-US" sz="10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О «</a:t>
            </a:r>
            <a:r>
              <a:rPr lang="en-US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G Engineering</a:t>
            </a: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 (г. Алматы)</a:t>
            </a:r>
          </a:p>
          <a:p>
            <a:pPr algn="just">
              <a:spcBef>
                <a:spcPts val="100"/>
              </a:spcBef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ЕНЕРАЛЬНЫЙ </a:t>
            </a: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ДРЯДЧИК  </a:t>
            </a:r>
            <a:endParaRPr lang="en-US" sz="10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r>
              <a:rPr lang="en-US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VC Production </a:t>
            </a:r>
            <a:endParaRPr lang="ru-RU" sz="2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АЛИЗАЦИЯ ПРОЕКТА ПОЗВОЛИТ</a:t>
            </a: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  <a:p>
            <a:pPr>
              <a:spcBef>
                <a:spcPts val="100"/>
              </a:spcBef>
              <a:defRPr/>
            </a:pP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высить надёжность и энергоэффективность подачи воздуха осушенного для приборов КИПиА производств ТОО ПНХЗ</a:t>
            </a:r>
          </a:p>
        </p:txBody>
      </p:sp>
      <p:grpSp>
        <p:nvGrpSpPr>
          <p:cNvPr id="10" name="Группа 9"/>
          <p:cNvGrpSpPr/>
          <p:nvPr/>
        </p:nvGrpSpPr>
        <p:grpSpPr>
          <a:xfrm>
            <a:off x="129458" y="1270942"/>
            <a:ext cx="320199" cy="275376"/>
            <a:chOff x="136051" y="1391752"/>
            <a:chExt cx="419286" cy="434523"/>
          </a:xfrm>
        </p:grpSpPr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/>
          </p:nvSpPr>
          <p:spPr>
            <a:xfrm>
              <a:off x="136051" y="1391752"/>
              <a:ext cx="419286" cy="434523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18" name="Freeform 99"/>
            <p:cNvSpPr>
              <a:spLocks noEditPoints="1"/>
            </p:cNvSpPr>
            <p:nvPr/>
          </p:nvSpPr>
          <p:spPr bwMode="auto">
            <a:xfrm>
              <a:off x="199092" y="1465786"/>
              <a:ext cx="292599" cy="293167"/>
            </a:xfrm>
            <a:custGeom>
              <a:avLst/>
              <a:gdLst>
                <a:gd name="T0" fmla="*/ 0 w 714"/>
                <a:gd name="T1" fmla="*/ 357 h 715"/>
                <a:gd name="T2" fmla="*/ 714 w 714"/>
                <a:gd name="T3" fmla="*/ 357 h 715"/>
                <a:gd name="T4" fmla="*/ 357 w 714"/>
                <a:gd name="T5" fmla="*/ 14 h 715"/>
                <a:gd name="T6" fmla="*/ 357 w 714"/>
                <a:gd name="T7" fmla="*/ 701 h 715"/>
                <a:gd name="T8" fmla="*/ 357 w 714"/>
                <a:gd name="T9" fmla="*/ 14 h 715"/>
                <a:gd name="T10" fmla="*/ 272 w 714"/>
                <a:gd name="T11" fmla="*/ 358 h 715"/>
                <a:gd name="T12" fmla="*/ 442 w 714"/>
                <a:gd name="T13" fmla="*/ 358 h 715"/>
                <a:gd name="T14" fmla="*/ 357 w 714"/>
                <a:gd name="T15" fmla="*/ 287 h 715"/>
                <a:gd name="T16" fmla="*/ 357 w 714"/>
                <a:gd name="T17" fmla="*/ 428 h 715"/>
                <a:gd name="T18" fmla="*/ 357 w 714"/>
                <a:gd name="T19" fmla="*/ 287 h 715"/>
                <a:gd name="T20" fmla="*/ 364 w 714"/>
                <a:gd name="T21" fmla="*/ 7 h 715"/>
                <a:gd name="T22" fmla="*/ 350 w 714"/>
                <a:gd name="T23" fmla="*/ 7 h 715"/>
                <a:gd name="T24" fmla="*/ 357 w 714"/>
                <a:gd name="T25" fmla="*/ 111 h 715"/>
                <a:gd name="T26" fmla="*/ 364 w 714"/>
                <a:gd name="T27" fmla="*/ 708 h 715"/>
                <a:gd name="T28" fmla="*/ 357 w 714"/>
                <a:gd name="T29" fmla="*/ 604 h 715"/>
                <a:gd name="T30" fmla="*/ 350 w 714"/>
                <a:gd name="T31" fmla="*/ 708 h 715"/>
                <a:gd name="T32" fmla="*/ 364 w 714"/>
                <a:gd name="T33" fmla="*/ 708 h 715"/>
                <a:gd name="T34" fmla="*/ 707 w 714"/>
                <a:gd name="T35" fmla="*/ 351 h 715"/>
                <a:gd name="T36" fmla="*/ 603 w 714"/>
                <a:gd name="T37" fmla="*/ 358 h 715"/>
                <a:gd name="T38" fmla="*/ 707 w 714"/>
                <a:gd name="T39" fmla="*/ 365 h 715"/>
                <a:gd name="T40" fmla="*/ 111 w 714"/>
                <a:gd name="T41" fmla="*/ 358 h 715"/>
                <a:gd name="T42" fmla="*/ 7 w 714"/>
                <a:gd name="T43" fmla="*/ 351 h 715"/>
                <a:gd name="T44" fmla="*/ 7 w 714"/>
                <a:gd name="T45" fmla="*/ 365 h 715"/>
                <a:gd name="T46" fmla="*/ 111 w 714"/>
                <a:gd name="T47" fmla="*/ 358 h 715"/>
                <a:gd name="T48" fmla="*/ 364 w 714"/>
                <a:gd name="T49" fmla="*/ 249 h 715"/>
                <a:gd name="T50" fmla="*/ 350 w 714"/>
                <a:gd name="T51" fmla="*/ 249 h 715"/>
                <a:gd name="T52" fmla="*/ 357 w 714"/>
                <a:gd name="T53" fmla="*/ 286 h 715"/>
                <a:gd name="T54" fmla="*/ 364 w 714"/>
                <a:gd name="T55" fmla="*/ 466 h 715"/>
                <a:gd name="T56" fmla="*/ 357 w 714"/>
                <a:gd name="T57" fmla="*/ 429 h 715"/>
                <a:gd name="T58" fmla="*/ 350 w 714"/>
                <a:gd name="T59" fmla="*/ 466 h 715"/>
                <a:gd name="T60" fmla="*/ 364 w 714"/>
                <a:gd name="T61" fmla="*/ 466 h 715"/>
                <a:gd name="T62" fmla="*/ 466 w 714"/>
                <a:gd name="T63" fmla="*/ 351 h 715"/>
                <a:gd name="T64" fmla="*/ 429 w 714"/>
                <a:gd name="T65" fmla="*/ 358 h 715"/>
                <a:gd name="T66" fmla="*/ 466 w 714"/>
                <a:gd name="T67" fmla="*/ 365 h 715"/>
                <a:gd name="T68" fmla="*/ 286 w 714"/>
                <a:gd name="T69" fmla="*/ 358 h 715"/>
                <a:gd name="T70" fmla="*/ 249 w 714"/>
                <a:gd name="T71" fmla="*/ 351 h 715"/>
                <a:gd name="T72" fmla="*/ 249 w 714"/>
                <a:gd name="T73" fmla="*/ 365 h 715"/>
                <a:gd name="T74" fmla="*/ 286 w 714"/>
                <a:gd name="T75" fmla="*/ 358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14" h="715">
                  <a:moveTo>
                    <a:pt x="357" y="715"/>
                  </a:moveTo>
                  <a:cubicBezTo>
                    <a:pt x="160" y="715"/>
                    <a:pt x="0" y="554"/>
                    <a:pt x="0" y="357"/>
                  </a:cubicBezTo>
                  <a:cubicBezTo>
                    <a:pt x="0" y="161"/>
                    <a:pt x="160" y="0"/>
                    <a:pt x="357" y="0"/>
                  </a:cubicBezTo>
                  <a:cubicBezTo>
                    <a:pt x="554" y="0"/>
                    <a:pt x="714" y="161"/>
                    <a:pt x="714" y="357"/>
                  </a:cubicBezTo>
                  <a:cubicBezTo>
                    <a:pt x="714" y="554"/>
                    <a:pt x="554" y="715"/>
                    <a:pt x="357" y="715"/>
                  </a:cubicBezTo>
                  <a:close/>
                  <a:moveTo>
                    <a:pt x="357" y="14"/>
                  </a:moveTo>
                  <a:cubicBezTo>
                    <a:pt x="168" y="14"/>
                    <a:pt x="14" y="168"/>
                    <a:pt x="14" y="357"/>
                  </a:cubicBezTo>
                  <a:cubicBezTo>
                    <a:pt x="14" y="547"/>
                    <a:pt x="168" y="701"/>
                    <a:pt x="357" y="701"/>
                  </a:cubicBezTo>
                  <a:cubicBezTo>
                    <a:pt x="546" y="701"/>
                    <a:pt x="700" y="547"/>
                    <a:pt x="700" y="357"/>
                  </a:cubicBezTo>
                  <a:cubicBezTo>
                    <a:pt x="700" y="168"/>
                    <a:pt x="546" y="14"/>
                    <a:pt x="357" y="14"/>
                  </a:cubicBezTo>
                  <a:close/>
                  <a:moveTo>
                    <a:pt x="357" y="442"/>
                  </a:moveTo>
                  <a:cubicBezTo>
                    <a:pt x="310" y="442"/>
                    <a:pt x="272" y="404"/>
                    <a:pt x="272" y="358"/>
                  </a:cubicBezTo>
                  <a:cubicBezTo>
                    <a:pt x="272" y="311"/>
                    <a:pt x="310" y="273"/>
                    <a:pt x="357" y="273"/>
                  </a:cubicBezTo>
                  <a:cubicBezTo>
                    <a:pt x="404" y="273"/>
                    <a:pt x="442" y="311"/>
                    <a:pt x="442" y="358"/>
                  </a:cubicBezTo>
                  <a:cubicBezTo>
                    <a:pt x="442" y="404"/>
                    <a:pt x="404" y="442"/>
                    <a:pt x="357" y="442"/>
                  </a:cubicBezTo>
                  <a:close/>
                  <a:moveTo>
                    <a:pt x="357" y="287"/>
                  </a:moveTo>
                  <a:cubicBezTo>
                    <a:pt x="318" y="287"/>
                    <a:pt x="286" y="318"/>
                    <a:pt x="286" y="358"/>
                  </a:cubicBezTo>
                  <a:cubicBezTo>
                    <a:pt x="286" y="397"/>
                    <a:pt x="318" y="428"/>
                    <a:pt x="357" y="428"/>
                  </a:cubicBezTo>
                  <a:cubicBezTo>
                    <a:pt x="396" y="428"/>
                    <a:pt x="428" y="397"/>
                    <a:pt x="428" y="358"/>
                  </a:cubicBezTo>
                  <a:cubicBezTo>
                    <a:pt x="428" y="318"/>
                    <a:pt x="396" y="287"/>
                    <a:pt x="357" y="287"/>
                  </a:cubicBezTo>
                  <a:close/>
                  <a:moveTo>
                    <a:pt x="364" y="104"/>
                  </a:moveTo>
                  <a:cubicBezTo>
                    <a:pt x="364" y="7"/>
                    <a:pt x="364" y="7"/>
                    <a:pt x="364" y="7"/>
                  </a:cubicBezTo>
                  <a:cubicBezTo>
                    <a:pt x="364" y="4"/>
                    <a:pt x="361" y="0"/>
                    <a:pt x="357" y="0"/>
                  </a:cubicBezTo>
                  <a:cubicBezTo>
                    <a:pt x="353" y="0"/>
                    <a:pt x="350" y="4"/>
                    <a:pt x="350" y="7"/>
                  </a:cubicBezTo>
                  <a:cubicBezTo>
                    <a:pt x="350" y="104"/>
                    <a:pt x="350" y="104"/>
                    <a:pt x="350" y="104"/>
                  </a:cubicBezTo>
                  <a:cubicBezTo>
                    <a:pt x="350" y="108"/>
                    <a:pt x="353" y="111"/>
                    <a:pt x="357" y="111"/>
                  </a:cubicBezTo>
                  <a:cubicBezTo>
                    <a:pt x="361" y="111"/>
                    <a:pt x="364" y="108"/>
                    <a:pt x="364" y="104"/>
                  </a:cubicBezTo>
                  <a:close/>
                  <a:moveTo>
                    <a:pt x="364" y="708"/>
                  </a:moveTo>
                  <a:cubicBezTo>
                    <a:pt x="364" y="611"/>
                    <a:pt x="364" y="611"/>
                    <a:pt x="364" y="611"/>
                  </a:cubicBezTo>
                  <a:cubicBezTo>
                    <a:pt x="364" y="607"/>
                    <a:pt x="361" y="604"/>
                    <a:pt x="357" y="604"/>
                  </a:cubicBezTo>
                  <a:cubicBezTo>
                    <a:pt x="353" y="604"/>
                    <a:pt x="350" y="607"/>
                    <a:pt x="350" y="611"/>
                  </a:cubicBezTo>
                  <a:cubicBezTo>
                    <a:pt x="350" y="708"/>
                    <a:pt x="350" y="708"/>
                    <a:pt x="350" y="708"/>
                  </a:cubicBezTo>
                  <a:cubicBezTo>
                    <a:pt x="350" y="711"/>
                    <a:pt x="353" y="715"/>
                    <a:pt x="357" y="715"/>
                  </a:cubicBezTo>
                  <a:cubicBezTo>
                    <a:pt x="361" y="715"/>
                    <a:pt x="364" y="711"/>
                    <a:pt x="364" y="708"/>
                  </a:cubicBezTo>
                  <a:close/>
                  <a:moveTo>
                    <a:pt x="714" y="358"/>
                  </a:moveTo>
                  <a:cubicBezTo>
                    <a:pt x="714" y="354"/>
                    <a:pt x="711" y="351"/>
                    <a:pt x="707" y="351"/>
                  </a:cubicBezTo>
                  <a:cubicBezTo>
                    <a:pt x="610" y="351"/>
                    <a:pt x="610" y="351"/>
                    <a:pt x="610" y="351"/>
                  </a:cubicBezTo>
                  <a:cubicBezTo>
                    <a:pt x="606" y="351"/>
                    <a:pt x="603" y="354"/>
                    <a:pt x="603" y="358"/>
                  </a:cubicBezTo>
                  <a:cubicBezTo>
                    <a:pt x="603" y="361"/>
                    <a:pt x="606" y="365"/>
                    <a:pt x="610" y="365"/>
                  </a:cubicBezTo>
                  <a:cubicBezTo>
                    <a:pt x="707" y="365"/>
                    <a:pt x="707" y="365"/>
                    <a:pt x="707" y="365"/>
                  </a:cubicBezTo>
                  <a:cubicBezTo>
                    <a:pt x="711" y="365"/>
                    <a:pt x="714" y="361"/>
                    <a:pt x="714" y="358"/>
                  </a:cubicBezTo>
                  <a:close/>
                  <a:moveTo>
                    <a:pt x="111" y="358"/>
                  </a:moveTo>
                  <a:cubicBezTo>
                    <a:pt x="111" y="354"/>
                    <a:pt x="108" y="351"/>
                    <a:pt x="104" y="351"/>
                  </a:cubicBezTo>
                  <a:cubicBezTo>
                    <a:pt x="7" y="351"/>
                    <a:pt x="7" y="351"/>
                    <a:pt x="7" y="351"/>
                  </a:cubicBezTo>
                  <a:cubicBezTo>
                    <a:pt x="3" y="351"/>
                    <a:pt x="0" y="354"/>
                    <a:pt x="0" y="358"/>
                  </a:cubicBezTo>
                  <a:cubicBezTo>
                    <a:pt x="0" y="361"/>
                    <a:pt x="3" y="365"/>
                    <a:pt x="7" y="365"/>
                  </a:cubicBezTo>
                  <a:cubicBezTo>
                    <a:pt x="104" y="365"/>
                    <a:pt x="104" y="365"/>
                    <a:pt x="104" y="365"/>
                  </a:cubicBezTo>
                  <a:cubicBezTo>
                    <a:pt x="108" y="365"/>
                    <a:pt x="111" y="361"/>
                    <a:pt x="111" y="358"/>
                  </a:cubicBezTo>
                  <a:close/>
                  <a:moveTo>
                    <a:pt x="364" y="279"/>
                  </a:moveTo>
                  <a:cubicBezTo>
                    <a:pt x="364" y="249"/>
                    <a:pt x="364" y="249"/>
                    <a:pt x="364" y="249"/>
                  </a:cubicBezTo>
                  <a:cubicBezTo>
                    <a:pt x="364" y="245"/>
                    <a:pt x="361" y="242"/>
                    <a:pt x="357" y="242"/>
                  </a:cubicBezTo>
                  <a:cubicBezTo>
                    <a:pt x="353" y="242"/>
                    <a:pt x="350" y="245"/>
                    <a:pt x="350" y="249"/>
                  </a:cubicBezTo>
                  <a:cubicBezTo>
                    <a:pt x="350" y="279"/>
                    <a:pt x="350" y="279"/>
                    <a:pt x="350" y="279"/>
                  </a:cubicBezTo>
                  <a:cubicBezTo>
                    <a:pt x="350" y="283"/>
                    <a:pt x="353" y="286"/>
                    <a:pt x="357" y="286"/>
                  </a:cubicBezTo>
                  <a:cubicBezTo>
                    <a:pt x="361" y="286"/>
                    <a:pt x="364" y="283"/>
                    <a:pt x="364" y="279"/>
                  </a:cubicBezTo>
                  <a:close/>
                  <a:moveTo>
                    <a:pt x="364" y="466"/>
                  </a:moveTo>
                  <a:cubicBezTo>
                    <a:pt x="364" y="436"/>
                    <a:pt x="364" y="436"/>
                    <a:pt x="364" y="436"/>
                  </a:cubicBezTo>
                  <a:cubicBezTo>
                    <a:pt x="364" y="432"/>
                    <a:pt x="361" y="429"/>
                    <a:pt x="357" y="429"/>
                  </a:cubicBezTo>
                  <a:cubicBezTo>
                    <a:pt x="353" y="429"/>
                    <a:pt x="350" y="432"/>
                    <a:pt x="350" y="436"/>
                  </a:cubicBezTo>
                  <a:cubicBezTo>
                    <a:pt x="350" y="466"/>
                    <a:pt x="350" y="466"/>
                    <a:pt x="350" y="466"/>
                  </a:cubicBezTo>
                  <a:cubicBezTo>
                    <a:pt x="350" y="470"/>
                    <a:pt x="353" y="473"/>
                    <a:pt x="357" y="473"/>
                  </a:cubicBezTo>
                  <a:cubicBezTo>
                    <a:pt x="361" y="473"/>
                    <a:pt x="364" y="470"/>
                    <a:pt x="364" y="466"/>
                  </a:cubicBezTo>
                  <a:close/>
                  <a:moveTo>
                    <a:pt x="473" y="358"/>
                  </a:moveTo>
                  <a:cubicBezTo>
                    <a:pt x="473" y="354"/>
                    <a:pt x="470" y="351"/>
                    <a:pt x="466" y="351"/>
                  </a:cubicBezTo>
                  <a:cubicBezTo>
                    <a:pt x="436" y="351"/>
                    <a:pt x="436" y="351"/>
                    <a:pt x="436" y="351"/>
                  </a:cubicBezTo>
                  <a:cubicBezTo>
                    <a:pt x="432" y="351"/>
                    <a:pt x="429" y="354"/>
                    <a:pt x="429" y="358"/>
                  </a:cubicBezTo>
                  <a:cubicBezTo>
                    <a:pt x="429" y="361"/>
                    <a:pt x="432" y="365"/>
                    <a:pt x="436" y="365"/>
                  </a:cubicBezTo>
                  <a:cubicBezTo>
                    <a:pt x="466" y="365"/>
                    <a:pt x="466" y="365"/>
                    <a:pt x="466" y="365"/>
                  </a:cubicBezTo>
                  <a:cubicBezTo>
                    <a:pt x="470" y="365"/>
                    <a:pt x="473" y="361"/>
                    <a:pt x="473" y="358"/>
                  </a:cubicBezTo>
                  <a:close/>
                  <a:moveTo>
                    <a:pt x="286" y="358"/>
                  </a:moveTo>
                  <a:cubicBezTo>
                    <a:pt x="286" y="354"/>
                    <a:pt x="282" y="351"/>
                    <a:pt x="279" y="351"/>
                  </a:cubicBezTo>
                  <a:cubicBezTo>
                    <a:pt x="249" y="351"/>
                    <a:pt x="249" y="351"/>
                    <a:pt x="249" y="351"/>
                  </a:cubicBezTo>
                  <a:cubicBezTo>
                    <a:pt x="245" y="351"/>
                    <a:pt x="242" y="354"/>
                    <a:pt x="242" y="358"/>
                  </a:cubicBezTo>
                  <a:cubicBezTo>
                    <a:pt x="242" y="361"/>
                    <a:pt x="245" y="365"/>
                    <a:pt x="249" y="365"/>
                  </a:cubicBezTo>
                  <a:cubicBezTo>
                    <a:pt x="279" y="365"/>
                    <a:pt x="279" y="365"/>
                    <a:pt x="279" y="365"/>
                  </a:cubicBezTo>
                  <a:cubicBezTo>
                    <a:pt x="282" y="365"/>
                    <a:pt x="286" y="361"/>
                    <a:pt x="286" y="35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125898" y="1614183"/>
            <a:ext cx="320197" cy="275376"/>
            <a:chOff x="151990" y="1375424"/>
            <a:chExt cx="320197" cy="275376"/>
          </a:xfrm>
        </p:grpSpPr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/>
          </p:nvSpPr>
          <p:spPr>
            <a:xfrm>
              <a:off x="151990" y="1375424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31" name="Freeform 98"/>
            <p:cNvSpPr>
              <a:spLocks noEditPoints="1"/>
            </p:cNvSpPr>
            <p:nvPr/>
          </p:nvSpPr>
          <p:spPr bwMode="auto">
            <a:xfrm>
              <a:off x="188017" y="1411432"/>
              <a:ext cx="227256" cy="196697"/>
            </a:xfrm>
            <a:custGeom>
              <a:avLst/>
              <a:gdLst>
                <a:gd name="T0" fmla="*/ 486 w 714"/>
                <a:gd name="T1" fmla="*/ 214 h 715"/>
                <a:gd name="T2" fmla="*/ 375 w 714"/>
                <a:gd name="T3" fmla="*/ 329 h 715"/>
                <a:gd name="T4" fmla="*/ 357 w 714"/>
                <a:gd name="T5" fmla="*/ 324 h 715"/>
                <a:gd name="T6" fmla="*/ 342 w 714"/>
                <a:gd name="T7" fmla="*/ 327 h 715"/>
                <a:gd name="T8" fmla="*/ 183 w 714"/>
                <a:gd name="T9" fmla="*/ 124 h 715"/>
                <a:gd name="T10" fmla="*/ 173 w 714"/>
                <a:gd name="T11" fmla="*/ 123 h 715"/>
                <a:gd name="T12" fmla="*/ 172 w 714"/>
                <a:gd name="T13" fmla="*/ 133 h 715"/>
                <a:gd name="T14" fmla="*/ 331 w 714"/>
                <a:gd name="T15" fmla="*/ 336 h 715"/>
                <a:gd name="T16" fmla="*/ 323 w 714"/>
                <a:gd name="T17" fmla="*/ 358 h 715"/>
                <a:gd name="T18" fmla="*/ 357 w 714"/>
                <a:gd name="T19" fmla="*/ 391 h 715"/>
                <a:gd name="T20" fmla="*/ 390 w 714"/>
                <a:gd name="T21" fmla="*/ 358 h 715"/>
                <a:gd name="T22" fmla="*/ 385 w 714"/>
                <a:gd name="T23" fmla="*/ 339 h 715"/>
                <a:gd name="T24" fmla="*/ 496 w 714"/>
                <a:gd name="T25" fmla="*/ 223 h 715"/>
                <a:gd name="T26" fmla="*/ 496 w 714"/>
                <a:gd name="T27" fmla="*/ 213 h 715"/>
                <a:gd name="T28" fmla="*/ 486 w 714"/>
                <a:gd name="T29" fmla="*/ 214 h 715"/>
                <a:gd name="T30" fmla="*/ 357 w 714"/>
                <a:gd name="T31" fmla="*/ 377 h 715"/>
                <a:gd name="T32" fmla="*/ 337 w 714"/>
                <a:gd name="T33" fmla="*/ 358 h 715"/>
                <a:gd name="T34" fmla="*/ 357 w 714"/>
                <a:gd name="T35" fmla="*/ 338 h 715"/>
                <a:gd name="T36" fmla="*/ 376 w 714"/>
                <a:gd name="T37" fmla="*/ 358 h 715"/>
                <a:gd name="T38" fmla="*/ 357 w 714"/>
                <a:gd name="T39" fmla="*/ 377 h 715"/>
                <a:gd name="T40" fmla="*/ 714 w 714"/>
                <a:gd name="T41" fmla="*/ 358 h 715"/>
                <a:gd name="T42" fmla="*/ 714 w 714"/>
                <a:gd name="T43" fmla="*/ 358 h 715"/>
                <a:gd name="T44" fmla="*/ 357 w 714"/>
                <a:gd name="T45" fmla="*/ 0 h 715"/>
                <a:gd name="T46" fmla="*/ 357 w 714"/>
                <a:gd name="T47" fmla="*/ 0 h 715"/>
                <a:gd name="T48" fmla="*/ 357 w 714"/>
                <a:gd name="T49" fmla="*/ 0 h 715"/>
                <a:gd name="T50" fmla="*/ 357 w 714"/>
                <a:gd name="T51" fmla="*/ 0 h 715"/>
                <a:gd name="T52" fmla="*/ 0 w 714"/>
                <a:gd name="T53" fmla="*/ 358 h 715"/>
                <a:gd name="T54" fmla="*/ 0 w 714"/>
                <a:gd name="T55" fmla="*/ 358 h 715"/>
                <a:gd name="T56" fmla="*/ 0 w 714"/>
                <a:gd name="T57" fmla="*/ 358 h 715"/>
                <a:gd name="T58" fmla="*/ 0 w 714"/>
                <a:gd name="T59" fmla="*/ 358 h 715"/>
                <a:gd name="T60" fmla="*/ 357 w 714"/>
                <a:gd name="T61" fmla="*/ 715 h 715"/>
                <a:gd name="T62" fmla="*/ 357 w 714"/>
                <a:gd name="T63" fmla="*/ 715 h 715"/>
                <a:gd name="T64" fmla="*/ 357 w 714"/>
                <a:gd name="T65" fmla="*/ 715 h 715"/>
                <a:gd name="T66" fmla="*/ 357 w 714"/>
                <a:gd name="T67" fmla="*/ 715 h 715"/>
                <a:gd name="T68" fmla="*/ 714 w 714"/>
                <a:gd name="T69" fmla="*/ 358 h 715"/>
                <a:gd name="T70" fmla="*/ 714 w 714"/>
                <a:gd name="T71" fmla="*/ 358 h 715"/>
                <a:gd name="T72" fmla="*/ 364 w 714"/>
                <a:gd name="T73" fmla="*/ 700 h 715"/>
                <a:gd name="T74" fmla="*/ 364 w 714"/>
                <a:gd name="T75" fmla="*/ 662 h 715"/>
                <a:gd name="T76" fmla="*/ 357 w 714"/>
                <a:gd name="T77" fmla="*/ 655 h 715"/>
                <a:gd name="T78" fmla="*/ 350 w 714"/>
                <a:gd name="T79" fmla="*/ 662 h 715"/>
                <a:gd name="T80" fmla="*/ 350 w 714"/>
                <a:gd name="T81" fmla="*/ 700 h 715"/>
                <a:gd name="T82" fmla="*/ 14 w 714"/>
                <a:gd name="T83" fmla="*/ 365 h 715"/>
                <a:gd name="T84" fmla="*/ 52 w 714"/>
                <a:gd name="T85" fmla="*/ 365 h 715"/>
                <a:gd name="T86" fmla="*/ 59 w 714"/>
                <a:gd name="T87" fmla="*/ 358 h 715"/>
                <a:gd name="T88" fmla="*/ 52 w 714"/>
                <a:gd name="T89" fmla="*/ 351 h 715"/>
                <a:gd name="T90" fmla="*/ 14 w 714"/>
                <a:gd name="T91" fmla="*/ 351 h 715"/>
                <a:gd name="T92" fmla="*/ 350 w 714"/>
                <a:gd name="T93" fmla="*/ 15 h 715"/>
                <a:gd name="T94" fmla="*/ 350 w 714"/>
                <a:gd name="T95" fmla="*/ 53 h 715"/>
                <a:gd name="T96" fmla="*/ 357 w 714"/>
                <a:gd name="T97" fmla="*/ 60 h 715"/>
                <a:gd name="T98" fmla="*/ 364 w 714"/>
                <a:gd name="T99" fmla="*/ 53 h 715"/>
                <a:gd name="T100" fmla="*/ 364 w 714"/>
                <a:gd name="T101" fmla="*/ 15 h 715"/>
                <a:gd name="T102" fmla="*/ 699 w 714"/>
                <a:gd name="T103" fmla="*/ 351 h 715"/>
                <a:gd name="T104" fmla="*/ 661 w 714"/>
                <a:gd name="T105" fmla="*/ 351 h 715"/>
                <a:gd name="T106" fmla="*/ 654 w 714"/>
                <a:gd name="T107" fmla="*/ 358 h 715"/>
                <a:gd name="T108" fmla="*/ 661 w 714"/>
                <a:gd name="T109" fmla="*/ 365 h 715"/>
                <a:gd name="T110" fmla="*/ 699 w 714"/>
                <a:gd name="T111" fmla="*/ 365 h 715"/>
                <a:gd name="T112" fmla="*/ 364 w 714"/>
                <a:gd name="T113" fmla="*/ 700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4" h="715">
                  <a:moveTo>
                    <a:pt x="486" y="214"/>
                  </a:moveTo>
                  <a:cubicBezTo>
                    <a:pt x="375" y="329"/>
                    <a:pt x="375" y="329"/>
                    <a:pt x="375" y="329"/>
                  </a:cubicBezTo>
                  <a:cubicBezTo>
                    <a:pt x="369" y="326"/>
                    <a:pt x="363" y="324"/>
                    <a:pt x="357" y="324"/>
                  </a:cubicBezTo>
                  <a:cubicBezTo>
                    <a:pt x="351" y="324"/>
                    <a:pt x="346" y="325"/>
                    <a:pt x="342" y="327"/>
                  </a:cubicBezTo>
                  <a:cubicBezTo>
                    <a:pt x="183" y="124"/>
                    <a:pt x="183" y="124"/>
                    <a:pt x="183" y="124"/>
                  </a:cubicBezTo>
                  <a:cubicBezTo>
                    <a:pt x="180" y="121"/>
                    <a:pt x="176" y="121"/>
                    <a:pt x="173" y="123"/>
                  </a:cubicBezTo>
                  <a:cubicBezTo>
                    <a:pt x="170" y="126"/>
                    <a:pt x="169" y="130"/>
                    <a:pt x="172" y="133"/>
                  </a:cubicBezTo>
                  <a:cubicBezTo>
                    <a:pt x="331" y="336"/>
                    <a:pt x="331" y="336"/>
                    <a:pt x="331" y="336"/>
                  </a:cubicBezTo>
                  <a:cubicBezTo>
                    <a:pt x="326" y="342"/>
                    <a:pt x="323" y="349"/>
                    <a:pt x="323" y="358"/>
                  </a:cubicBezTo>
                  <a:cubicBezTo>
                    <a:pt x="323" y="376"/>
                    <a:pt x="338" y="391"/>
                    <a:pt x="357" y="391"/>
                  </a:cubicBezTo>
                  <a:cubicBezTo>
                    <a:pt x="375" y="391"/>
                    <a:pt x="390" y="376"/>
                    <a:pt x="390" y="358"/>
                  </a:cubicBezTo>
                  <a:cubicBezTo>
                    <a:pt x="390" y="351"/>
                    <a:pt x="388" y="344"/>
                    <a:pt x="385" y="339"/>
                  </a:cubicBezTo>
                  <a:cubicBezTo>
                    <a:pt x="496" y="223"/>
                    <a:pt x="496" y="223"/>
                    <a:pt x="496" y="223"/>
                  </a:cubicBezTo>
                  <a:cubicBezTo>
                    <a:pt x="499" y="220"/>
                    <a:pt x="499" y="216"/>
                    <a:pt x="496" y="213"/>
                  </a:cubicBezTo>
                  <a:cubicBezTo>
                    <a:pt x="493" y="211"/>
                    <a:pt x="489" y="211"/>
                    <a:pt x="486" y="214"/>
                  </a:cubicBezTo>
                  <a:close/>
                  <a:moveTo>
                    <a:pt x="357" y="377"/>
                  </a:moveTo>
                  <a:cubicBezTo>
                    <a:pt x="346" y="377"/>
                    <a:pt x="337" y="368"/>
                    <a:pt x="337" y="358"/>
                  </a:cubicBezTo>
                  <a:cubicBezTo>
                    <a:pt x="337" y="347"/>
                    <a:pt x="346" y="338"/>
                    <a:pt x="357" y="338"/>
                  </a:cubicBezTo>
                  <a:cubicBezTo>
                    <a:pt x="368" y="338"/>
                    <a:pt x="376" y="347"/>
                    <a:pt x="376" y="358"/>
                  </a:cubicBezTo>
                  <a:cubicBezTo>
                    <a:pt x="376" y="368"/>
                    <a:pt x="368" y="377"/>
                    <a:pt x="357" y="377"/>
                  </a:cubicBezTo>
                  <a:close/>
                  <a:moveTo>
                    <a:pt x="714" y="358"/>
                  </a:moveTo>
                  <a:cubicBezTo>
                    <a:pt x="714" y="358"/>
                    <a:pt x="714" y="358"/>
                    <a:pt x="714" y="358"/>
                  </a:cubicBezTo>
                  <a:cubicBezTo>
                    <a:pt x="714" y="161"/>
                    <a:pt x="553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160" y="0"/>
                    <a:pt x="0" y="161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554"/>
                    <a:pt x="160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553" y="715"/>
                    <a:pt x="714" y="554"/>
                    <a:pt x="714" y="358"/>
                  </a:cubicBezTo>
                  <a:cubicBezTo>
                    <a:pt x="714" y="358"/>
                    <a:pt x="714" y="358"/>
                    <a:pt x="714" y="358"/>
                  </a:cubicBezTo>
                  <a:close/>
                  <a:moveTo>
                    <a:pt x="364" y="700"/>
                  </a:moveTo>
                  <a:cubicBezTo>
                    <a:pt x="364" y="662"/>
                    <a:pt x="364" y="662"/>
                    <a:pt x="364" y="662"/>
                  </a:cubicBezTo>
                  <a:cubicBezTo>
                    <a:pt x="364" y="658"/>
                    <a:pt x="360" y="655"/>
                    <a:pt x="357" y="655"/>
                  </a:cubicBezTo>
                  <a:cubicBezTo>
                    <a:pt x="353" y="655"/>
                    <a:pt x="350" y="658"/>
                    <a:pt x="350" y="662"/>
                  </a:cubicBezTo>
                  <a:cubicBezTo>
                    <a:pt x="350" y="700"/>
                    <a:pt x="350" y="700"/>
                    <a:pt x="350" y="700"/>
                  </a:cubicBezTo>
                  <a:cubicBezTo>
                    <a:pt x="166" y="697"/>
                    <a:pt x="17" y="548"/>
                    <a:pt x="14" y="365"/>
                  </a:cubicBezTo>
                  <a:cubicBezTo>
                    <a:pt x="52" y="365"/>
                    <a:pt x="52" y="365"/>
                    <a:pt x="52" y="365"/>
                  </a:cubicBezTo>
                  <a:cubicBezTo>
                    <a:pt x="56" y="365"/>
                    <a:pt x="59" y="361"/>
                    <a:pt x="59" y="358"/>
                  </a:cubicBezTo>
                  <a:cubicBezTo>
                    <a:pt x="59" y="354"/>
                    <a:pt x="56" y="351"/>
                    <a:pt x="52" y="351"/>
                  </a:cubicBezTo>
                  <a:cubicBezTo>
                    <a:pt x="14" y="351"/>
                    <a:pt x="14" y="351"/>
                    <a:pt x="14" y="351"/>
                  </a:cubicBezTo>
                  <a:cubicBezTo>
                    <a:pt x="17" y="167"/>
                    <a:pt x="166" y="18"/>
                    <a:pt x="350" y="15"/>
                  </a:cubicBezTo>
                  <a:cubicBezTo>
                    <a:pt x="350" y="53"/>
                    <a:pt x="350" y="53"/>
                    <a:pt x="350" y="53"/>
                  </a:cubicBezTo>
                  <a:cubicBezTo>
                    <a:pt x="350" y="57"/>
                    <a:pt x="353" y="60"/>
                    <a:pt x="357" y="60"/>
                  </a:cubicBezTo>
                  <a:cubicBezTo>
                    <a:pt x="360" y="60"/>
                    <a:pt x="364" y="57"/>
                    <a:pt x="364" y="53"/>
                  </a:cubicBezTo>
                  <a:cubicBezTo>
                    <a:pt x="364" y="15"/>
                    <a:pt x="364" y="15"/>
                    <a:pt x="364" y="15"/>
                  </a:cubicBezTo>
                  <a:cubicBezTo>
                    <a:pt x="547" y="18"/>
                    <a:pt x="696" y="167"/>
                    <a:pt x="699" y="351"/>
                  </a:cubicBezTo>
                  <a:cubicBezTo>
                    <a:pt x="661" y="351"/>
                    <a:pt x="661" y="351"/>
                    <a:pt x="661" y="351"/>
                  </a:cubicBezTo>
                  <a:cubicBezTo>
                    <a:pt x="657" y="351"/>
                    <a:pt x="654" y="354"/>
                    <a:pt x="654" y="358"/>
                  </a:cubicBezTo>
                  <a:cubicBezTo>
                    <a:pt x="654" y="361"/>
                    <a:pt x="657" y="365"/>
                    <a:pt x="661" y="365"/>
                  </a:cubicBezTo>
                  <a:cubicBezTo>
                    <a:pt x="699" y="365"/>
                    <a:pt x="699" y="365"/>
                    <a:pt x="699" y="365"/>
                  </a:cubicBezTo>
                  <a:cubicBezTo>
                    <a:pt x="696" y="548"/>
                    <a:pt x="547" y="697"/>
                    <a:pt x="364" y="7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129460" y="955855"/>
            <a:ext cx="320197" cy="275376"/>
            <a:chOff x="139227" y="1865668"/>
            <a:chExt cx="320197" cy="275376"/>
          </a:xfrm>
        </p:grpSpPr>
        <p:sp>
          <p:nvSpPr>
            <p:cNvPr id="30" name="Овал 29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/>
          </p:nvSpPr>
          <p:spPr>
            <a:xfrm>
              <a:off x="139227" y="1865668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36" name="Freeform 123"/>
            <p:cNvSpPr>
              <a:spLocks noEditPoints="1"/>
            </p:cNvSpPr>
            <p:nvPr/>
          </p:nvSpPr>
          <p:spPr bwMode="auto">
            <a:xfrm>
              <a:off x="171777" y="1907951"/>
              <a:ext cx="224157" cy="182295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113989" y="2342693"/>
            <a:ext cx="320197" cy="275376"/>
            <a:chOff x="144952" y="2751503"/>
            <a:chExt cx="320197" cy="275376"/>
          </a:xfrm>
        </p:grpSpPr>
        <p:sp>
          <p:nvSpPr>
            <p:cNvPr id="34" name="Овал 33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/>
          </p:nvSpPr>
          <p:spPr>
            <a:xfrm>
              <a:off x="144952" y="2751503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grpSp>
          <p:nvGrpSpPr>
            <p:cNvPr id="24" name="Группа 23"/>
            <p:cNvGrpSpPr/>
            <p:nvPr/>
          </p:nvGrpSpPr>
          <p:grpSpPr>
            <a:xfrm>
              <a:off x="186863" y="2784728"/>
              <a:ext cx="233268" cy="168052"/>
              <a:chOff x="106498" y="1660238"/>
              <a:chExt cx="184763" cy="153786"/>
            </a:xfrm>
          </p:grpSpPr>
          <p:sp>
            <p:nvSpPr>
              <p:cNvPr id="43" name="Freeform 12"/>
              <p:cNvSpPr>
                <a:spLocks/>
              </p:cNvSpPr>
              <p:nvPr/>
            </p:nvSpPr>
            <p:spPr bwMode="auto">
              <a:xfrm>
                <a:off x="106498" y="1660238"/>
                <a:ext cx="124635" cy="153786"/>
              </a:xfrm>
              <a:custGeom>
                <a:avLst/>
                <a:gdLst>
                  <a:gd name="T0" fmla="*/ 8 w 150"/>
                  <a:gd name="T1" fmla="*/ 145 h 145"/>
                  <a:gd name="T2" fmla="*/ 19 w 150"/>
                  <a:gd name="T3" fmla="*/ 119 h 145"/>
                  <a:gd name="T4" fmla="*/ 57 w 150"/>
                  <a:gd name="T5" fmla="*/ 86 h 145"/>
                  <a:gd name="T6" fmla="*/ 38 w 150"/>
                  <a:gd name="T7" fmla="*/ 46 h 145"/>
                  <a:gd name="T8" fmla="*/ 77 w 150"/>
                  <a:gd name="T9" fmla="*/ 0 h 145"/>
                  <a:gd name="T10" fmla="*/ 114 w 150"/>
                  <a:gd name="T11" fmla="*/ 50 h 145"/>
                  <a:gd name="T12" fmla="*/ 96 w 150"/>
                  <a:gd name="T13" fmla="*/ 87 h 145"/>
                  <a:gd name="T14" fmla="*/ 136 w 150"/>
                  <a:gd name="T15" fmla="*/ 117 h 145"/>
                  <a:gd name="T16" fmla="*/ 150 w 150"/>
                  <a:gd name="T17" fmla="*/ 145 h 145"/>
                  <a:gd name="T18" fmla="*/ 8 w 150"/>
                  <a:gd name="T19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0" h="145">
                    <a:moveTo>
                      <a:pt x="8" y="145"/>
                    </a:moveTo>
                    <a:cubicBezTo>
                      <a:pt x="8" y="145"/>
                      <a:pt x="0" y="125"/>
                      <a:pt x="19" y="119"/>
                    </a:cubicBezTo>
                    <a:cubicBezTo>
                      <a:pt x="38" y="113"/>
                      <a:pt x="57" y="107"/>
                      <a:pt x="57" y="86"/>
                    </a:cubicBezTo>
                    <a:cubicBezTo>
                      <a:pt x="57" y="86"/>
                      <a:pt x="38" y="78"/>
                      <a:pt x="38" y="46"/>
                    </a:cubicBezTo>
                    <a:cubicBezTo>
                      <a:pt x="38" y="17"/>
                      <a:pt x="53" y="0"/>
                      <a:pt x="77" y="0"/>
                    </a:cubicBezTo>
                    <a:cubicBezTo>
                      <a:pt x="100" y="0"/>
                      <a:pt x="114" y="19"/>
                      <a:pt x="114" y="50"/>
                    </a:cubicBezTo>
                    <a:cubicBezTo>
                      <a:pt x="114" y="50"/>
                      <a:pt x="109" y="80"/>
                      <a:pt x="96" y="87"/>
                    </a:cubicBezTo>
                    <a:cubicBezTo>
                      <a:pt x="96" y="92"/>
                      <a:pt x="93" y="111"/>
                      <a:pt x="136" y="117"/>
                    </a:cubicBezTo>
                    <a:cubicBezTo>
                      <a:pt x="149" y="119"/>
                      <a:pt x="150" y="132"/>
                      <a:pt x="150" y="145"/>
                    </a:cubicBezTo>
                    <a:lnTo>
                      <a:pt x="8" y="14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13"/>
              <p:cNvSpPr>
                <a:spLocks/>
              </p:cNvSpPr>
              <p:nvPr/>
            </p:nvSpPr>
            <p:spPr bwMode="auto">
              <a:xfrm>
                <a:off x="210764" y="1689384"/>
                <a:ext cx="80497" cy="124640"/>
              </a:xfrm>
              <a:custGeom>
                <a:avLst/>
                <a:gdLst>
                  <a:gd name="T0" fmla="*/ 29 w 96"/>
                  <a:gd name="T1" fmla="*/ 125 h 125"/>
                  <a:gd name="T2" fmla="*/ 96 w 96"/>
                  <a:gd name="T3" fmla="*/ 125 h 125"/>
                  <a:gd name="T4" fmla="*/ 85 w 96"/>
                  <a:gd name="T5" fmla="*/ 101 h 125"/>
                  <a:gd name="T6" fmla="*/ 50 w 96"/>
                  <a:gd name="T7" fmla="*/ 75 h 125"/>
                  <a:gd name="T8" fmla="*/ 66 w 96"/>
                  <a:gd name="T9" fmla="*/ 42 h 125"/>
                  <a:gd name="T10" fmla="*/ 33 w 96"/>
                  <a:gd name="T11" fmla="*/ 0 h 125"/>
                  <a:gd name="T12" fmla="*/ 0 w 96"/>
                  <a:gd name="T13" fmla="*/ 39 h 125"/>
                  <a:gd name="T14" fmla="*/ 16 w 96"/>
                  <a:gd name="T15" fmla="*/ 74 h 125"/>
                  <a:gd name="T16" fmla="*/ 9 w 96"/>
                  <a:gd name="T17" fmla="*/ 89 h 125"/>
                  <a:gd name="T18" fmla="*/ 27 w 96"/>
                  <a:gd name="T19" fmla="*/ 104 h 125"/>
                  <a:gd name="T20" fmla="*/ 29 w 96"/>
                  <a:gd name="T21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6" h="125">
                    <a:moveTo>
                      <a:pt x="29" y="125"/>
                    </a:moveTo>
                    <a:cubicBezTo>
                      <a:pt x="96" y="125"/>
                      <a:pt x="96" y="125"/>
                      <a:pt x="96" y="125"/>
                    </a:cubicBezTo>
                    <a:cubicBezTo>
                      <a:pt x="96" y="113"/>
                      <a:pt x="96" y="102"/>
                      <a:pt x="85" y="101"/>
                    </a:cubicBezTo>
                    <a:cubicBezTo>
                      <a:pt x="48" y="95"/>
                      <a:pt x="51" y="79"/>
                      <a:pt x="50" y="75"/>
                    </a:cubicBezTo>
                    <a:cubicBezTo>
                      <a:pt x="61" y="68"/>
                      <a:pt x="66" y="42"/>
                      <a:pt x="66" y="42"/>
                    </a:cubicBezTo>
                    <a:cubicBezTo>
                      <a:pt x="66" y="16"/>
                      <a:pt x="54" y="0"/>
                      <a:pt x="33" y="0"/>
                    </a:cubicBezTo>
                    <a:cubicBezTo>
                      <a:pt x="13" y="0"/>
                      <a:pt x="0" y="14"/>
                      <a:pt x="0" y="39"/>
                    </a:cubicBezTo>
                    <a:cubicBezTo>
                      <a:pt x="0" y="66"/>
                      <a:pt x="16" y="74"/>
                      <a:pt x="16" y="74"/>
                    </a:cubicBezTo>
                    <a:cubicBezTo>
                      <a:pt x="16" y="82"/>
                      <a:pt x="13" y="87"/>
                      <a:pt x="9" y="89"/>
                    </a:cubicBezTo>
                    <a:cubicBezTo>
                      <a:pt x="9" y="89"/>
                      <a:pt x="23" y="92"/>
                      <a:pt x="27" y="104"/>
                    </a:cubicBezTo>
                    <a:cubicBezTo>
                      <a:pt x="30" y="113"/>
                      <a:pt x="29" y="125"/>
                      <a:pt x="29" y="1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1" name="Группа 60"/>
          <p:cNvGrpSpPr/>
          <p:nvPr/>
        </p:nvGrpSpPr>
        <p:grpSpPr>
          <a:xfrm>
            <a:off x="112300" y="3009252"/>
            <a:ext cx="321886" cy="295434"/>
            <a:chOff x="132557" y="2285583"/>
            <a:chExt cx="359605" cy="335305"/>
          </a:xfrm>
        </p:grpSpPr>
        <p:sp>
          <p:nvSpPr>
            <p:cNvPr id="62" name="Овал 61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/>
          </p:nvSpPr>
          <p:spPr>
            <a:xfrm>
              <a:off x="132557" y="2285583"/>
              <a:ext cx="359605" cy="335305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63" name="Freeform 123"/>
            <p:cNvSpPr>
              <a:spLocks noEditPoints="1"/>
            </p:cNvSpPr>
            <p:nvPr/>
          </p:nvSpPr>
          <p:spPr bwMode="auto">
            <a:xfrm>
              <a:off x="180448" y="2330581"/>
              <a:ext cx="251745" cy="223589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124749" y="1960519"/>
            <a:ext cx="320197" cy="275376"/>
            <a:chOff x="143281" y="1375424"/>
            <a:chExt cx="320197" cy="275376"/>
          </a:xfrm>
        </p:grpSpPr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/>
          </p:nvSpPr>
          <p:spPr>
            <a:xfrm>
              <a:off x="143281" y="1375424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37" name="Freeform 98"/>
            <p:cNvSpPr>
              <a:spLocks noEditPoints="1"/>
            </p:cNvSpPr>
            <p:nvPr/>
          </p:nvSpPr>
          <p:spPr bwMode="auto">
            <a:xfrm>
              <a:off x="188017" y="1411432"/>
              <a:ext cx="227256" cy="196697"/>
            </a:xfrm>
            <a:custGeom>
              <a:avLst/>
              <a:gdLst>
                <a:gd name="T0" fmla="*/ 486 w 714"/>
                <a:gd name="T1" fmla="*/ 214 h 715"/>
                <a:gd name="T2" fmla="*/ 375 w 714"/>
                <a:gd name="T3" fmla="*/ 329 h 715"/>
                <a:gd name="T4" fmla="*/ 357 w 714"/>
                <a:gd name="T5" fmla="*/ 324 h 715"/>
                <a:gd name="T6" fmla="*/ 342 w 714"/>
                <a:gd name="T7" fmla="*/ 327 h 715"/>
                <a:gd name="T8" fmla="*/ 183 w 714"/>
                <a:gd name="T9" fmla="*/ 124 h 715"/>
                <a:gd name="T10" fmla="*/ 173 w 714"/>
                <a:gd name="T11" fmla="*/ 123 h 715"/>
                <a:gd name="T12" fmla="*/ 172 w 714"/>
                <a:gd name="T13" fmla="*/ 133 h 715"/>
                <a:gd name="T14" fmla="*/ 331 w 714"/>
                <a:gd name="T15" fmla="*/ 336 h 715"/>
                <a:gd name="T16" fmla="*/ 323 w 714"/>
                <a:gd name="T17" fmla="*/ 358 h 715"/>
                <a:gd name="T18" fmla="*/ 357 w 714"/>
                <a:gd name="T19" fmla="*/ 391 h 715"/>
                <a:gd name="T20" fmla="*/ 390 w 714"/>
                <a:gd name="T21" fmla="*/ 358 h 715"/>
                <a:gd name="T22" fmla="*/ 385 w 714"/>
                <a:gd name="T23" fmla="*/ 339 h 715"/>
                <a:gd name="T24" fmla="*/ 496 w 714"/>
                <a:gd name="T25" fmla="*/ 223 h 715"/>
                <a:gd name="T26" fmla="*/ 496 w 714"/>
                <a:gd name="T27" fmla="*/ 213 h 715"/>
                <a:gd name="T28" fmla="*/ 486 w 714"/>
                <a:gd name="T29" fmla="*/ 214 h 715"/>
                <a:gd name="T30" fmla="*/ 357 w 714"/>
                <a:gd name="T31" fmla="*/ 377 h 715"/>
                <a:gd name="T32" fmla="*/ 337 w 714"/>
                <a:gd name="T33" fmla="*/ 358 h 715"/>
                <a:gd name="T34" fmla="*/ 357 w 714"/>
                <a:gd name="T35" fmla="*/ 338 h 715"/>
                <a:gd name="T36" fmla="*/ 376 w 714"/>
                <a:gd name="T37" fmla="*/ 358 h 715"/>
                <a:gd name="T38" fmla="*/ 357 w 714"/>
                <a:gd name="T39" fmla="*/ 377 h 715"/>
                <a:gd name="T40" fmla="*/ 714 w 714"/>
                <a:gd name="T41" fmla="*/ 358 h 715"/>
                <a:gd name="T42" fmla="*/ 714 w 714"/>
                <a:gd name="T43" fmla="*/ 358 h 715"/>
                <a:gd name="T44" fmla="*/ 357 w 714"/>
                <a:gd name="T45" fmla="*/ 0 h 715"/>
                <a:gd name="T46" fmla="*/ 357 w 714"/>
                <a:gd name="T47" fmla="*/ 0 h 715"/>
                <a:gd name="T48" fmla="*/ 357 w 714"/>
                <a:gd name="T49" fmla="*/ 0 h 715"/>
                <a:gd name="T50" fmla="*/ 357 w 714"/>
                <a:gd name="T51" fmla="*/ 0 h 715"/>
                <a:gd name="T52" fmla="*/ 0 w 714"/>
                <a:gd name="T53" fmla="*/ 358 h 715"/>
                <a:gd name="T54" fmla="*/ 0 w 714"/>
                <a:gd name="T55" fmla="*/ 358 h 715"/>
                <a:gd name="T56" fmla="*/ 0 w 714"/>
                <a:gd name="T57" fmla="*/ 358 h 715"/>
                <a:gd name="T58" fmla="*/ 0 w 714"/>
                <a:gd name="T59" fmla="*/ 358 h 715"/>
                <a:gd name="T60" fmla="*/ 357 w 714"/>
                <a:gd name="T61" fmla="*/ 715 h 715"/>
                <a:gd name="T62" fmla="*/ 357 w 714"/>
                <a:gd name="T63" fmla="*/ 715 h 715"/>
                <a:gd name="T64" fmla="*/ 357 w 714"/>
                <a:gd name="T65" fmla="*/ 715 h 715"/>
                <a:gd name="T66" fmla="*/ 357 w 714"/>
                <a:gd name="T67" fmla="*/ 715 h 715"/>
                <a:gd name="T68" fmla="*/ 714 w 714"/>
                <a:gd name="T69" fmla="*/ 358 h 715"/>
                <a:gd name="T70" fmla="*/ 714 w 714"/>
                <a:gd name="T71" fmla="*/ 358 h 715"/>
                <a:gd name="T72" fmla="*/ 364 w 714"/>
                <a:gd name="T73" fmla="*/ 700 h 715"/>
                <a:gd name="T74" fmla="*/ 364 w 714"/>
                <a:gd name="T75" fmla="*/ 662 h 715"/>
                <a:gd name="T76" fmla="*/ 357 w 714"/>
                <a:gd name="T77" fmla="*/ 655 h 715"/>
                <a:gd name="T78" fmla="*/ 350 w 714"/>
                <a:gd name="T79" fmla="*/ 662 h 715"/>
                <a:gd name="T80" fmla="*/ 350 w 714"/>
                <a:gd name="T81" fmla="*/ 700 h 715"/>
                <a:gd name="T82" fmla="*/ 14 w 714"/>
                <a:gd name="T83" fmla="*/ 365 h 715"/>
                <a:gd name="T84" fmla="*/ 52 w 714"/>
                <a:gd name="T85" fmla="*/ 365 h 715"/>
                <a:gd name="T86" fmla="*/ 59 w 714"/>
                <a:gd name="T87" fmla="*/ 358 h 715"/>
                <a:gd name="T88" fmla="*/ 52 w 714"/>
                <a:gd name="T89" fmla="*/ 351 h 715"/>
                <a:gd name="T90" fmla="*/ 14 w 714"/>
                <a:gd name="T91" fmla="*/ 351 h 715"/>
                <a:gd name="T92" fmla="*/ 350 w 714"/>
                <a:gd name="T93" fmla="*/ 15 h 715"/>
                <a:gd name="T94" fmla="*/ 350 w 714"/>
                <a:gd name="T95" fmla="*/ 53 h 715"/>
                <a:gd name="T96" fmla="*/ 357 w 714"/>
                <a:gd name="T97" fmla="*/ 60 h 715"/>
                <a:gd name="T98" fmla="*/ 364 w 714"/>
                <a:gd name="T99" fmla="*/ 53 h 715"/>
                <a:gd name="T100" fmla="*/ 364 w 714"/>
                <a:gd name="T101" fmla="*/ 15 h 715"/>
                <a:gd name="T102" fmla="*/ 699 w 714"/>
                <a:gd name="T103" fmla="*/ 351 h 715"/>
                <a:gd name="T104" fmla="*/ 661 w 714"/>
                <a:gd name="T105" fmla="*/ 351 h 715"/>
                <a:gd name="T106" fmla="*/ 654 w 714"/>
                <a:gd name="T107" fmla="*/ 358 h 715"/>
                <a:gd name="T108" fmla="*/ 661 w 714"/>
                <a:gd name="T109" fmla="*/ 365 h 715"/>
                <a:gd name="T110" fmla="*/ 699 w 714"/>
                <a:gd name="T111" fmla="*/ 365 h 715"/>
                <a:gd name="T112" fmla="*/ 364 w 714"/>
                <a:gd name="T113" fmla="*/ 700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4" h="715">
                  <a:moveTo>
                    <a:pt x="486" y="214"/>
                  </a:moveTo>
                  <a:cubicBezTo>
                    <a:pt x="375" y="329"/>
                    <a:pt x="375" y="329"/>
                    <a:pt x="375" y="329"/>
                  </a:cubicBezTo>
                  <a:cubicBezTo>
                    <a:pt x="369" y="326"/>
                    <a:pt x="363" y="324"/>
                    <a:pt x="357" y="324"/>
                  </a:cubicBezTo>
                  <a:cubicBezTo>
                    <a:pt x="351" y="324"/>
                    <a:pt x="346" y="325"/>
                    <a:pt x="342" y="327"/>
                  </a:cubicBezTo>
                  <a:cubicBezTo>
                    <a:pt x="183" y="124"/>
                    <a:pt x="183" y="124"/>
                    <a:pt x="183" y="124"/>
                  </a:cubicBezTo>
                  <a:cubicBezTo>
                    <a:pt x="180" y="121"/>
                    <a:pt x="176" y="121"/>
                    <a:pt x="173" y="123"/>
                  </a:cubicBezTo>
                  <a:cubicBezTo>
                    <a:pt x="170" y="126"/>
                    <a:pt x="169" y="130"/>
                    <a:pt x="172" y="133"/>
                  </a:cubicBezTo>
                  <a:cubicBezTo>
                    <a:pt x="331" y="336"/>
                    <a:pt x="331" y="336"/>
                    <a:pt x="331" y="336"/>
                  </a:cubicBezTo>
                  <a:cubicBezTo>
                    <a:pt x="326" y="342"/>
                    <a:pt x="323" y="349"/>
                    <a:pt x="323" y="358"/>
                  </a:cubicBezTo>
                  <a:cubicBezTo>
                    <a:pt x="323" y="376"/>
                    <a:pt x="338" y="391"/>
                    <a:pt x="357" y="391"/>
                  </a:cubicBezTo>
                  <a:cubicBezTo>
                    <a:pt x="375" y="391"/>
                    <a:pt x="390" y="376"/>
                    <a:pt x="390" y="358"/>
                  </a:cubicBezTo>
                  <a:cubicBezTo>
                    <a:pt x="390" y="351"/>
                    <a:pt x="388" y="344"/>
                    <a:pt x="385" y="339"/>
                  </a:cubicBezTo>
                  <a:cubicBezTo>
                    <a:pt x="496" y="223"/>
                    <a:pt x="496" y="223"/>
                    <a:pt x="496" y="223"/>
                  </a:cubicBezTo>
                  <a:cubicBezTo>
                    <a:pt x="499" y="220"/>
                    <a:pt x="499" y="216"/>
                    <a:pt x="496" y="213"/>
                  </a:cubicBezTo>
                  <a:cubicBezTo>
                    <a:pt x="493" y="211"/>
                    <a:pt x="489" y="211"/>
                    <a:pt x="486" y="214"/>
                  </a:cubicBezTo>
                  <a:close/>
                  <a:moveTo>
                    <a:pt x="357" y="377"/>
                  </a:moveTo>
                  <a:cubicBezTo>
                    <a:pt x="346" y="377"/>
                    <a:pt x="337" y="368"/>
                    <a:pt x="337" y="358"/>
                  </a:cubicBezTo>
                  <a:cubicBezTo>
                    <a:pt x="337" y="347"/>
                    <a:pt x="346" y="338"/>
                    <a:pt x="357" y="338"/>
                  </a:cubicBezTo>
                  <a:cubicBezTo>
                    <a:pt x="368" y="338"/>
                    <a:pt x="376" y="347"/>
                    <a:pt x="376" y="358"/>
                  </a:cubicBezTo>
                  <a:cubicBezTo>
                    <a:pt x="376" y="368"/>
                    <a:pt x="368" y="377"/>
                    <a:pt x="357" y="377"/>
                  </a:cubicBezTo>
                  <a:close/>
                  <a:moveTo>
                    <a:pt x="714" y="358"/>
                  </a:moveTo>
                  <a:cubicBezTo>
                    <a:pt x="714" y="358"/>
                    <a:pt x="714" y="358"/>
                    <a:pt x="714" y="358"/>
                  </a:cubicBezTo>
                  <a:cubicBezTo>
                    <a:pt x="714" y="161"/>
                    <a:pt x="553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160" y="0"/>
                    <a:pt x="0" y="161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554"/>
                    <a:pt x="160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553" y="715"/>
                    <a:pt x="714" y="554"/>
                    <a:pt x="714" y="358"/>
                  </a:cubicBezTo>
                  <a:cubicBezTo>
                    <a:pt x="714" y="358"/>
                    <a:pt x="714" y="358"/>
                    <a:pt x="714" y="358"/>
                  </a:cubicBezTo>
                  <a:close/>
                  <a:moveTo>
                    <a:pt x="364" y="700"/>
                  </a:moveTo>
                  <a:cubicBezTo>
                    <a:pt x="364" y="662"/>
                    <a:pt x="364" y="662"/>
                    <a:pt x="364" y="662"/>
                  </a:cubicBezTo>
                  <a:cubicBezTo>
                    <a:pt x="364" y="658"/>
                    <a:pt x="360" y="655"/>
                    <a:pt x="357" y="655"/>
                  </a:cubicBezTo>
                  <a:cubicBezTo>
                    <a:pt x="353" y="655"/>
                    <a:pt x="350" y="658"/>
                    <a:pt x="350" y="662"/>
                  </a:cubicBezTo>
                  <a:cubicBezTo>
                    <a:pt x="350" y="700"/>
                    <a:pt x="350" y="700"/>
                    <a:pt x="350" y="700"/>
                  </a:cubicBezTo>
                  <a:cubicBezTo>
                    <a:pt x="166" y="697"/>
                    <a:pt x="17" y="548"/>
                    <a:pt x="14" y="365"/>
                  </a:cubicBezTo>
                  <a:cubicBezTo>
                    <a:pt x="52" y="365"/>
                    <a:pt x="52" y="365"/>
                    <a:pt x="52" y="365"/>
                  </a:cubicBezTo>
                  <a:cubicBezTo>
                    <a:pt x="56" y="365"/>
                    <a:pt x="59" y="361"/>
                    <a:pt x="59" y="358"/>
                  </a:cubicBezTo>
                  <a:cubicBezTo>
                    <a:pt x="59" y="354"/>
                    <a:pt x="56" y="351"/>
                    <a:pt x="52" y="351"/>
                  </a:cubicBezTo>
                  <a:cubicBezTo>
                    <a:pt x="14" y="351"/>
                    <a:pt x="14" y="351"/>
                    <a:pt x="14" y="351"/>
                  </a:cubicBezTo>
                  <a:cubicBezTo>
                    <a:pt x="17" y="167"/>
                    <a:pt x="166" y="18"/>
                    <a:pt x="350" y="15"/>
                  </a:cubicBezTo>
                  <a:cubicBezTo>
                    <a:pt x="350" y="53"/>
                    <a:pt x="350" y="53"/>
                    <a:pt x="350" y="53"/>
                  </a:cubicBezTo>
                  <a:cubicBezTo>
                    <a:pt x="350" y="57"/>
                    <a:pt x="353" y="60"/>
                    <a:pt x="357" y="60"/>
                  </a:cubicBezTo>
                  <a:cubicBezTo>
                    <a:pt x="360" y="60"/>
                    <a:pt x="364" y="57"/>
                    <a:pt x="364" y="53"/>
                  </a:cubicBezTo>
                  <a:cubicBezTo>
                    <a:pt x="364" y="15"/>
                    <a:pt x="364" y="15"/>
                    <a:pt x="364" y="15"/>
                  </a:cubicBezTo>
                  <a:cubicBezTo>
                    <a:pt x="547" y="18"/>
                    <a:pt x="696" y="167"/>
                    <a:pt x="699" y="351"/>
                  </a:cubicBezTo>
                  <a:cubicBezTo>
                    <a:pt x="661" y="351"/>
                    <a:pt x="661" y="351"/>
                    <a:pt x="661" y="351"/>
                  </a:cubicBezTo>
                  <a:cubicBezTo>
                    <a:pt x="657" y="351"/>
                    <a:pt x="654" y="354"/>
                    <a:pt x="654" y="358"/>
                  </a:cubicBezTo>
                  <a:cubicBezTo>
                    <a:pt x="654" y="361"/>
                    <a:pt x="657" y="365"/>
                    <a:pt x="661" y="365"/>
                  </a:cubicBezTo>
                  <a:cubicBezTo>
                    <a:pt x="699" y="365"/>
                    <a:pt x="699" y="365"/>
                    <a:pt x="699" y="365"/>
                  </a:cubicBezTo>
                  <a:cubicBezTo>
                    <a:pt x="696" y="548"/>
                    <a:pt x="547" y="697"/>
                    <a:pt x="364" y="7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45" name="Table 2"/>
          <p:cNvGraphicFramePr>
            <a:graphicFrameLocks noGrp="1"/>
          </p:cNvGraphicFramePr>
          <p:nvPr>
            <p:extLst/>
          </p:nvPr>
        </p:nvGraphicFramePr>
        <p:xfrm>
          <a:off x="4661460" y="4440328"/>
          <a:ext cx="6828501" cy="2252404"/>
        </p:xfrm>
        <a:graphic>
          <a:graphicData uri="http://schemas.openxmlformats.org/drawingml/2006/table">
            <a:tbl>
              <a:tblPr firstRow="1" lastRow="1" bandRow="1">
                <a:tableStyleId>{21E4AEA4-8DFA-4A89-87EB-49C32662AFE0}</a:tableStyleId>
              </a:tblPr>
              <a:tblGrid>
                <a:gridCol w="13313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99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63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9423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66662">
                  <a:extLst>
                    <a:ext uri="{9D8B030D-6E8A-4147-A177-3AD203B41FA5}">
                      <a16:colId xmlns:a16="http://schemas.microsoft.com/office/drawing/2014/main" val="1548543413"/>
                    </a:ext>
                  </a:extLst>
                </a:gridCol>
              </a:tblGrid>
              <a:tr h="47884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</a:rPr>
                        <a:t>2020</a:t>
                      </a:r>
                    </a:p>
                    <a:p>
                      <a:pPr algn="ctr"/>
                      <a:endParaRPr lang="en-US" sz="1400" dirty="0">
                        <a:solidFill>
                          <a:srgbClr val="2F5597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</a:rPr>
                        <a:t>2021</a:t>
                      </a:r>
                      <a:endParaRPr lang="en-US" sz="1400" dirty="0">
                        <a:solidFill>
                          <a:srgbClr val="2F5597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</a:rPr>
                        <a:t>2022</a:t>
                      </a:r>
                      <a:endParaRPr lang="en-US" sz="1400" dirty="0">
                        <a:solidFill>
                          <a:srgbClr val="2F5597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</a:rPr>
                        <a:t>2023</a:t>
                      </a:r>
                      <a:endParaRPr lang="en-US" sz="1400" dirty="0">
                        <a:solidFill>
                          <a:srgbClr val="2F5597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4</a:t>
                      </a:r>
                      <a:endParaRPr lang="en-US" sz="1400" b="1" kern="1200" dirty="0" smtClean="0">
                        <a:solidFill>
                          <a:srgbClr val="2F5597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9464"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b="1" kern="1200" dirty="0">
                        <a:solidFill>
                          <a:srgbClr val="2F5597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0160"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64620"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 smtClean="0">
                        <a:solidFill>
                          <a:srgbClr val="2F5597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46" name="Прямоугольник 45"/>
          <p:cNvSpPr/>
          <p:nvPr/>
        </p:nvSpPr>
        <p:spPr>
          <a:xfrm>
            <a:off x="4588971" y="4885229"/>
            <a:ext cx="13058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b="1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Анализ критичности, оценка </a:t>
            </a:r>
            <a:r>
              <a:rPr lang="ru-RU" sz="800" b="1" dirty="0">
                <a:solidFill>
                  <a:srgbClr val="2F5597"/>
                </a:solidFill>
                <a:latin typeface="Century Gothic" panose="020B0502020202020204" pitchFamily="34" charset="0"/>
              </a:rPr>
              <a:t>финансовых </a:t>
            </a:r>
            <a:r>
              <a:rPr lang="ru-RU" sz="800" b="1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рисков</a:t>
            </a:r>
            <a:endParaRPr lang="ru-RU" sz="700" dirty="0">
              <a:solidFill>
                <a:srgbClr val="2F5597"/>
              </a:solidFill>
              <a:latin typeface="Century Gothic" panose="020B0502020202020204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6520181" y="4863761"/>
            <a:ext cx="797433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b="1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 Договор на проект</a:t>
            </a:r>
            <a:endParaRPr lang="ru-RU" sz="800" b="1" dirty="0">
              <a:solidFill>
                <a:srgbClr val="2F5597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en-US" sz="700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26</a:t>
            </a:r>
            <a:r>
              <a:rPr lang="ru-RU" sz="700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.</a:t>
            </a:r>
            <a:r>
              <a:rPr lang="en-US" sz="700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07</a:t>
            </a:r>
            <a:r>
              <a:rPr lang="ru-RU" sz="700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.2021</a:t>
            </a:r>
            <a:endParaRPr lang="ru-RU" sz="800" dirty="0">
              <a:solidFill>
                <a:srgbClr val="2F5597"/>
              </a:solidFill>
              <a:latin typeface="Century Gothic" panose="020B0502020202020204" pitchFamily="34" charset="0"/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5911093" y="4866688"/>
            <a:ext cx="785455" cy="446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800" b="1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Одобрение ИК </a:t>
            </a:r>
            <a:r>
              <a:rPr lang="ru-RU" sz="800" b="1" dirty="0">
                <a:solidFill>
                  <a:srgbClr val="2F5597"/>
                </a:solidFill>
                <a:latin typeface="Century Gothic" panose="020B0502020202020204" pitchFamily="34" charset="0"/>
              </a:rPr>
              <a:t>КМГ</a:t>
            </a:r>
          </a:p>
          <a:p>
            <a:pPr algn="ctr"/>
            <a:r>
              <a:rPr lang="ru-RU" sz="700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21.07.2021</a:t>
            </a:r>
            <a:endParaRPr lang="ru-RU" sz="800" dirty="0">
              <a:solidFill>
                <a:srgbClr val="2F5597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106" name="Прямая соединительная линия 105"/>
          <p:cNvCxnSpPr/>
          <p:nvPr/>
        </p:nvCxnSpPr>
        <p:spPr>
          <a:xfrm>
            <a:off x="6600994" y="5247219"/>
            <a:ext cx="2164" cy="426462"/>
          </a:xfrm>
          <a:prstGeom prst="line">
            <a:avLst/>
          </a:prstGeom>
          <a:ln w="12700">
            <a:solidFill>
              <a:srgbClr val="2F55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Прямоугольник 119"/>
          <p:cNvSpPr/>
          <p:nvPr/>
        </p:nvSpPr>
        <p:spPr>
          <a:xfrm>
            <a:off x="7317614" y="4899785"/>
            <a:ext cx="1349670" cy="3231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800" b="1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Разработка РП </a:t>
            </a:r>
            <a:r>
              <a:rPr lang="ru-RU" sz="800" b="1" dirty="0">
                <a:solidFill>
                  <a:srgbClr val="2F5597"/>
                </a:solidFill>
                <a:latin typeface="Century Gothic" panose="020B0502020202020204" pitchFamily="34" charset="0"/>
              </a:rPr>
              <a:t>– </a:t>
            </a:r>
            <a:r>
              <a:rPr lang="ru-RU" sz="800" b="1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100%</a:t>
            </a:r>
            <a:endParaRPr lang="ru-RU" sz="800" b="1" dirty="0">
              <a:solidFill>
                <a:srgbClr val="2F5597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ru-RU" sz="700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декабрь </a:t>
            </a:r>
            <a:r>
              <a:rPr lang="ru-RU" sz="700" dirty="0">
                <a:solidFill>
                  <a:srgbClr val="2F5597"/>
                </a:solidFill>
                <a:latin typeface="Century Gothic" panose="020B0502020202020204" pitchFamily="34" charset="0"/>
              </a:rPr>
              <a:t>2022</a:t>
            </a:r>
          </a:p>
        </p:txBody>
      </p:sp>
      <p:sp>
        <p:nvSpPr>
          <p:cNvPr id="121" name="Правая фигурная скобка 120"/>
          <p:cNvSpPr/>
          <p:nvPr/>
        </p:nvSpPr>
        <p:spPr>
          <a:xfrm rot="5400000" flipH="1">
            <a:off x="7534684" y="4399317"/>
            <a:ext cx="273302" cy="1869829"/>
          </a:xfrm>
          <a:prstGeom prst="rightBrace">
            <a:avLst>
              <a:gd name="adj1" fmla="val 56111"/>
              <a:gd name="adj2" fmla="val 48301"/>
            </a:avLst>
          </a:prstGeom>
          <a:ln w="12700">
            <a:solidFill>
              <a:srgbClr val="2F559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3" name="Прямоугольник 122"/>
          <p:cNvSpPr/>
          <p:nvPr/>
        </p:nvSpPr>
        <p:spPr>
          <a:xfrm>
            <a:off x="8434106" y="4858170"/>
            <a:ext cx="881663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b="1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 Договор</a:t>
            </a:r>
          </a:p>
          <a:p>
            <a:pPr algn="ctr"/>
            <a:r>
              <a:rPr lang="ru-RU" sz="800" b="1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на СМР</a:t>
            </a:r>
          </a:p>
          <a:p>
            <a:pPr algn="ctr"/>
            <a:r>
              <a:rPr lang="ru-RU" sz="700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23.01.2023</a:t>
            </a:r>
            <a:endParaRPr lang="ru-RU" sz="700" dirty="0">
              <a:solidFill>
                <a:srgbClr val="2F5597"/>
              </a:solidFill>
              <a:latin typeface="Century Gothic" panose="020B0502020202020204" pitchFamily="34" charset="0"/>
            </a:endParaRPr>
          </a:p>
        </p:txBody>
      </p:sp>
      <p:sp>
        <p:nvSpPr>
          <p:cNvPr id="136" name="Правая фигурная скобка 135"/>
          <p:cNvSpPr/>
          <p:nvPr/>
        </p:nvSpPr>
        <p:spPr>
          <a:xfrm rot="5400000" flipH="1">
            <a:off x="9976466" y="4026770"/>
            <a:ext cx="296730" cy="2586891"/>
          </a:xfrm>
          <a:prstGeom prst="rightBrace">
            <a:avLst>
              <a:gd name="adj1" fmla="val 56111"/>
              <a:gd name="adj2" fmla="val 49855"/>
            </a:avLst>
          </a:prstGeom>
          <a:ln w="12700">
            <a:solidFill>
              <a:srgbClr val="2F559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7" name="Прямоугольник 136"/>
          <p:cNvSpPr/>
          <p:nvPr/>
        </p:nvSpPr>
        <p:spPr>
          <a:xfrm>
            <a:off x="9579413" y="4859028"/>
            <a:ext cx="1430398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800" b="1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Реализация проекта</a:t>
            </a:r>
          </a:p>
          <a:p>
            <a:pPr algn="ctr"/>
            <a:r>
              <a:rPr lang="ru-RU" sz="800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31.12.2024</a:t>
            </a:r>
            <a:endParaRPr lang="ru-RU" sz="800" dirty="0">
              <a:solidFill>
                <a:srgbClr val="2F5597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144" name="Прямая соединительная линия 143"/>
          <p:cNvCxnSpPr/>
          <p:nvPr/>
        </p:nvCxnSpPr>
        <p:spPr>
          <a:xfrm>
            <a:off x="6720537" y="5254154"/>
            <a:ext cx="4428" cy="426462"/>
          </a:xfrm>
          <a:prstGeom prst="line">
            <a:avLst/>
          </a:prstGeom>
          <a:ln w="12700">
            <a:solidFill>
              <a:srgbClr val="2F55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ight Arrow 15"/>
          <p:cNvSpPr/>
          <p:nvPr/>
        </p:nvSpPr>
        <p:spPr>
          <a:xfrm>
            <a:off x="4661461" y="5448726"/>
            <a:ext cx="6454215" cy="841829"/>
          </a:xfrm>
          <a:prstGeom prst="rightArrow">
            <a:avLst>
              <a:gd name="adj1" fmla="val 50000"/>
              <a:gd name="adj2" fmla="val 47414"/>
            </a:avLst>
          </a:prstGeom>
          <a:solidFill>
            <a:srgbClr val="1298C7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55596" y="6501002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8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2" name="Группа 71"/>
          <p:cNvGrpSpPr/>
          <p:nvPr/>
        </p:nvGrpSpPr>
        <p:grpSpPr>
          <a:xfrm>
            <a:off x="113989" y="2660592"/>
            <a:ext cx="320197" cy="304591"/>
            <a:chOff x="144952" y="2751503"/>
            <a:chExt cx="320197" cy="275376"/>
          </a:xfrm>
        </p:grpSpPr>
        <p:sp>
          <p:nvSpPr>
            <p:cNvPr id="73" name="Овал 72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/>
          </p:nvSpPr>
          <p:spPr>
            <a:xfrm>
              <a:off x="144952" y="2751503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grpSp>
          <p:nvGrpSpPr>
            <p:cNvPr id="75" name="Группа 74"/>
            <p:cNvGrpSpPr/>
            <p:nvPr/>
          </p:nvGrpSpPr>
          <p:grpSpPr>
            <a:xfrm>
              <a:off x="186863" y="2784728"/>
              <a:ext cx="233268" cy="168052"/>
              <a:chOff x="106498" y="1660238"/>
              <a:chExt cx="184763" cy="153786"/>
            </a:xfrm>
          </p:grpSpPr>
          <p:sp>
            <p:nvSpPr>
              <p:cNvPr id="76" name="Freeform 12"/>
              <p:cNvSpPr>
                <a:spLocks/>
              </p:cNvSpPr>
              <p:nvPr/>
            </p:nvSpPr>
            <p:spPr bwMode="auto">
              <a:xfrm>
                <a:off x="106498" y="1660238"/>
                <a:ext cx="124635" cy="153786"/>
              </a:xfrm>
              <a:custGeom>
                <a:avLst/>
                <a:gdLst>
                  <a:gd name="T0" fmla="*/ 8 w 150"/>
                  <a:gd name="T1" fmla="*/ 145 h 145"/>
                  <a:gd name="T2" fmla="*/ 19 w 150"/>
                  <a:gd name="T3" fmla="*/ 119 h 145"/>
                  <a:gd name="T4" fmla="*/ 57 w 150"/>
                  <a:gd name="T5" fmla="*/ 86 h 145"/>
                  <a:gd name="T6" fmla="*/ 38 w 150"/>
                  <a:gd name="T7" fmla="*/ 46 h 145"/>
                  <a:gd name="T8" fmla="*/ 77 w 150"/>
                  <a:gd name="T9" fmla="*/ 0 h 145"/>
                  <a:gd name="T10" fmla="*/ 114 w 150"/>
                  <a:gd name="T11" fmla="*/ 50 h 145"/>
                  <a:gd name="T12" fmla="*/ 96 w 150"/>
                  <a:gd name="T13" fmla="*/ 87 h 145"/>
                  <a:gd name="T14" fmla="*/ 136 w 150"/>
                  <a:gd name="T15" fmla="*/ 117 h 145"/>
                  <a:gd name="T16" fmla="*/ 150 w 150"/>
                  <a:gd name="T17" fmla="*/ 145 h 145"/>
                  <a:gd name="T18" fmla="*/ 8 w 150"/>
                  <a:gd name="T19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0" h="145">
                    <a:moveTo>
                      <a:pt x="8" y="145"/>
                    </a:moveTo>
                    <a:cubicBezTo>
                      <a:pt x="8" y="145"/>
                      <a:pt x="0" y="125"/>
                      <a:pt x="19" y="119"/>
                    </a:cubicBezTo>
                    <a:cubicBezTo>
                      <a:pt x="38" y="113"/>
                      <a:pt x="57" y="107"/>
                      <a:pt x="57" y="86"/>
                    </a:cubicBezTo>
                    <a:cubicBezTo>
                      <a:pt x="57" y="86"/>
                      <a:pt x="38" y="78"/>
                      <a:pt x="38" y="46"/>
                    </a:cubicBezTo>
                    <a:cubicBezTo>
                      <a:pt x="38" y="17"/>
                      <a:pt x="53" y="0"/>
                      <a:pt x="77" y="0"/>
                    </a:cubicBezTo>
                    <a:cubicBezTo>
                      <a:pt x="100" y="0"/>
                      <a:pt x="114" y="19"/>
                      <a:pt x="114" y="50"/>
                    </a:cubicBezTo>
                    <a:cubicBezTo>
                      <a:pt x="114" y="50"/>
                      <a:pt x="109" y="80"/>
                      <a:pt x="96" y="87"/>
                    </a:cubicBezTo>
                    <a:cubicBezTo>
                      <a:pt x="96" y="92"/>
                      <a:pt x="93" y="111"/>
                      <a:pt x="136" y="117"/>
                    </a:cubicBezTo>
                    <a:cubicBezTo>
                      <a:pt x="149" y="119"/>
                      <a:pt x="150" y="132"/>
                      <a:pt x="150" y="145"/>
                    </a:cubicBezTo>
                    <a:lnTo>
                      <a:pt x="8" y="14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13"/>
              <p:cNvSpPr>
                <a:spLocks/>
              </p:cNvSpPr>
              <p:nvPr/>
            </p:nvSpPr>
            <p:spPr bwMode="auto">
              <a:xfrm>
                <a:off x="210764" y="1689384"/>
                <a:ext cx="80497" cy="124640"/>
              </a:xfrm>
              <a:custGeom>
                <a:avLst/>
                <a:gdLst>
                  <a:gd name="T0" fmla="*/ 29 w 96"/>
                  <a:gd name="T1" fmla="*/ 125 h 125"/>
                  <a:gd name="T2" fmla="*/ 96 w 96"/>
                  <a:gd name="T3" fmla="*/ 125 h 125"/>
                  <a:gd name="T4" fmla="*/ 85 w 96"/>
                  <a:gd name="T5" fmla="*/ 101 h 125"/>
                  <a:gd name="T6" fmla="*/ 50 w 96"/>
                  <a:gd name="T7" fmla="*/ 75 h 125"/>
                  <a:gd name="T8" fmla="*/ 66 w 96"/>
                  <a:gd name="T9" fmla="*/ 42 h 125"/>
                  <a:gd name="T10" fmla="*/ 33 w 96"/>
                  <a:gd name="T11" fmla="*/ 0 h 125"/>
                  <a:gd name="T12" fmla="*/ 0 w 96"/>
                  <a:gd name="T13" fmla="*/ 39 h 125"/>
                  <a:gd name="T14" fmla="*/ 16 w 96"/>
                  <a:gd name="T15" fmla="*/ 74 h 125"/>
                  <a:gd name="T16" fmla="*/ 9 w 96"/>
                  <a:gd name="T17" fmla="*/ 89 h 125"/>
                  <a:gd name="T18" fmla="*/ 27 w 96"/>
                  <a:gd name="T19" fmla="*/ 104 h 125"/>
                  <a:gd name="T20" fmla="*/ 29 w 96"/>
                  <a:gd name="T21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6" h="125">
                    <a:moveTo>
                      <a:pt x="29" y="125"/>
                    </a:moveTo>
                    <a:cubicBezTo>
                      <a:pt x="96" y="125"/>
                      <a:pt x="96" y="125"/>
                      <a:pt x="96" y="125"/>
                    </a:cubicBezTo>
                    <a:cubicBezTo>
                      <a:pt x="96" y="113"/>
                      <a:pt x="96" y="102"/>
                      <a:pt x="85" y="101"/>
                    </a:cubicBezTo>
                    <a:cubicBezTo>
                      <a:pt x="48" y="95"/>
                      <a:pt x="51" y="79"/>
                      <a:pt x="50" y="75"/>
                    </a:cubicBezTo>
                    <a:cubicBezTo>
                      <a:pt x="61" y="68"/>
                      <a:pt x="66" y="42"/>
                      <a:pt x="66" y="42"/>
                    </a:cubicBezTo>
                    <a:cubicBezTo>
                      <a:pt x="66" y="16"/>
                      <a:pt x="54" y="0"/>
                      <a:pt x="33" y="0"/>
                    </a:cubicBezTo>
                    <a:cubicBezTo>
                      <a:pt x="13" y="0"/>
                      <a:pt x="0" y="14"/>
                      <a:pt x="0" y="39"/>
                    </a:cubicBezTo>
                    <a:cubicBezTo>
                      <a:pt x="0" y="66"/>
                      <a:pt x="16" y="74"/>
                      <a:pt x="16" y="74"/>
                    </a:cubicBezTo>
                    <a:cubicBezTo>
                      <a:pt x="16" y="82"/>
                      <a:pt x="13" y="87"/>
                      <a:pt x="9" y="89"/>
                    </a:cubicBezTo>
                    <a:cubicBezTo>
                      <a:pt x="9" y="89"/>
                      <a:pt x="23" y="92"/>
                      <a:pt x="27" y="104"/>
                    </a:cubicBezTo>
                    <a:cubicBezTo>
                      <a:pt x="30" y="113"/>
                      <a:pt x="29" y="125"/>
                      <a:pt x="29" y="1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cxnSp>
        <p:nvCxnSpPr>
          <p:cNvPr id="81" name="Прямая соединительная линия 80"/>
          <p:cNvCxnSpPr/>
          <p:nvPr/>
        </p:nvCxnSpPr>
        <p:spPr>
          <a:xfrm flipH="1">
            <a:off x="8776640" y="5256342"/>
            <a:ext cx="2236" cy="449537"/>
          </a:xfrm>
          <a:prstGeom prst="line">
            <a:avLst/>
          </a:prstGeom>
          <a:ln w="12700">
            <a:solidFill>
              <a:srgbClr val="2F55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Прямоугольник 83"/>
          <p:cNvSpPr/>
          <p:nvPr/>
        </p:nvSpPr>
        <p:spPr>
          <a:xfrm>
            <a:off x="4661460" y="5672244"/>
            <a:ext cx="5457009" cy="39253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 63"/>
          <p:cNvSpPr/>
          <p:nvPr/>
        </p:nvSpPr>
        <p:spPr>
          <a:xfrm>
            <a:off x="8498332" y="6260439"/>
            <a:ext cx="1634874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татус проекта</a:t>
            </a:r>
          </a:p>
        </p:txBody>
      </p:sp>
      <p:sp>
        <p:nvSpPr>
          <p:cNvPr id="65" name="5-конечная звезда 64"/>
          <p:cNvSpPr/>
          <p:nvPr/>
        </p:nvSpPr>
        <p:spPr>
          <a:xfrm>
            <a:off x="10133206" y="6180012"/>
            <a:ext cx="384235" cy="358087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Прямоугольник 65"/>
          <p:cNvSpPr/>
          <p:nvPr/>
        </p:nvSpPr>
        <p:spPr>
          <a:xfrm>
            <a:off x="1373392" y="5337110"/>
            <a:ext cx="2453957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ТАТУС ПРОЕКТА:</a:t>
            </a:r>
            <a:endParaRPr lang="ru-RU" sz="14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Ø"/>
              <a:defRPr/>
            </a:pP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пытная эксплуатация компрессоров К-2 и К-3</a:t>
            </a:r>
          </a:p>
          <a:p>
            <a:pPr marL="171450" lvl="0" indent="-171450">
              <a:buFont typeface="Wingdings" panose="05000000000000000000" pitchFamily="2" charset="2"/>
              <a:buChar char="Ø"/>
              <a:defRPr/>
            </a:pP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онтаж компрессора К-4</a:t>
            </a:r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5-конечная звезда 68"/>
          <p:cNvSpPr/>
          <p:nvPr/>
        </p:nvSpPr>
        <p:spPr>
          <a:xfrm>
            <a:off x="809599" y="5347792"/>
            <a:ext cx="384235" cy="358087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Прямоугольник 73"/>
          <p:cNvSpPr/>
          <p:nvPr/>
        </p:nvSpPr>
        <p:spPr>
          <a:xfrm>
            <a:off x="6713122" y="5706656"/>
            <a:ext cx="14771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ализовано</a:t>
            </a:r>
            <a:endParaRPr lang="ru-RU" sz="14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9023378" y="5706656"/>
            <a:ext cx="83190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лан</a:t>
            </a:r>
            <a:endParaRPr lang="ru-RU" sz="1400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98" name="Picture 2" descr="Компьютерные иконки инкапсулированные PostScript, финишная черта, Разное,  флаг png | PNGEg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44" r="27660"/>
          <a:stretch/>
        </p:blipFill>
        <p:spPr bwMode="auto">
          <a:xfrm>
            <a:off x="11115676" y="5632117"/>
            <a:ext cx="374285" cy="472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L'homme Va à Une Réunion D'affaires, Pense à L'argent Et Profite Fond Blanc  Silhouette Clips Vidéos - Vidéo du tony, entreprise: 102729219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852" r="33200"/>
          <a:stretch/>
        </p:blipFill>
        <p:spPr bwMode="auto">
          <a:xfrm>
            <a:off x="10074180" y="5671713"/>
            <a:ext cx="251144" cy="393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80A0CD63-1EF0-49FE-B83E-8B0213AA8B19}"/>
              </a:ext>
            </a:extLst>
          </p:cNvPr>
          <p:cNvSpPr/>
          <p:nvPr/>
        </p:nvSpPr>
        <p:spPr>
          <a:xfrm>
            <a:off x="607611" y="3879448"/>
            <a:ext cx="3195714" cy="10926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Преимущества </a:t>
            </a:r>
            <a:r>
              <a:rPr lang="en-US" sz="13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CENTAC C-700</a:t>
            </a:r>
            <a:endParaRPr lang="ru-RU" sz="1300" b="1" dirty="0" smtClean="0">
              <a:solidFill>
                <a:srgbClr val="002060"/>
              </a:solidFill>
              <a:latin typeface="Century Gothic" panose="020B0502020202020204" pitchFamily="34" charset="0"/>
              <a:ea typeface="Tahoma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ru-RU" sz="1300" b="1" dirty="0" smtClean="0">
                <a:solidFill>
                  <a:srgbClr val="C0000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регулирование</a:t>
            </a:r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 подачи воздуха</a:t>
            </a:r>
          </a:p>
          <a:p>
            <a:pPr marL="285750" indent="-285750" algn="just"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ru-RU" sz="1300" b="1" dirty="0" smtClean="0">
                <a:solidFill>
                  <a:srgbClr val="C0000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автоматизация</a:t>
            </a:r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 управления</a:t>
            </a:r>
          </a:p>
          <a:p>
            <a:pPr marL="285750" indent="-285750" algn="just"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ru-RU" sz="1300" b="1" dirty="0" smtClean="0">
                <a:solidFill>
                  <a:srgbClr val="C0000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система</a:t>
            </a:r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300" b="1" dirty="0" smtClean="0">
                <a:solidFill>
                  <a:srgbClr val="C0000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защиты</a:t>
            </a:r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 компрессора</a:t>
            </a:r>
          </a:p>
          <a:p>
            <a:pPr marL="285750" indent="-285750" algn="just"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ru-RU" sz="1300" b="1" dirty="0" smtClean="0">
                <a:solidFill>
                  <a:srgbClr val="C0000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экономия</a:t>
            </a:r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 энергоресурсов</a:t>
            </a:r>
            <a:endParaRPr lang="ru-RU" sz="1300" b="1" dirty="0">
              <a:solidFill>
                <a:srgbClr val="002060"/>
              </a:solidFill>
              <a:latin typeface="Century Gothic" panose="020B0502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59" r="33332" b="33763"/>
          <a:stretch/>
        </p:blipFill>
        <p:spPr>
          <a:xfrm>
            <a:off x="5365769" y="1123423"/>
            <a:ext cx="5151672" cy="3193314"/>
          </a:xfrm>
          <a:prstGeom prst="rect">
            <a:avLst/>
          </a:prstGeom>
        </p:spPr>
      </p:pic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id="{80A0CD63-1EF0-49FE-B83E-8B0213AA8B19}"/>
              </a:ext>
            </a:extLst>
          </p:cNvPr>
          <p:cNvSpPr/>
          <p:nvPr/>
        </p:nvSpPr>
        <p:spPr>
          <a:xfrm>
            <a:off x="4893319" y="732112"/>
            <a:ext cx="7190224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ru-RU" sz="15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Новые компрессоры К-2, К-3 </a:t>
            </a:r>
            <a:r>
              <a:rPr lang="en-US" sz="15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CENTAC C-700</a:t>
            </a:r>
            <a:r>
              <a:rPr lang="ru-RU" sz="15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 на опытной эксплуатации</a:t>
            </a:r>
            <a:endParaRPr lang="ru-RU" sz="1500" b="1" dirty="0">
              <a:solidFill>
                <a:srgbClr val="002060"/>
              </a:solidFill>
              <a:latin typeface="Century Gothic" panose="020B0502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80A0CD63-1EF0-49FE-B83E-8B0213AA8B19}"/>
              </a:ext>
            </a:extLst>
          </p:cNvPr>
          <p:cNvSpPr/>
          <p:nvPr/>
        </p:nvSpPr>
        <p:spPr>
          <a:xfrm>
            <a:off x="4893319" y="62950"/>
            <a:ext cx="72162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100000"/>
              </a:lnSpc>
            </a:pPr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РЕАЛИЗАЦИЯ ПРОЕКТА ЗАМЕНЫ КОМПРЕССОРОВ ВОЗДУШНОЙ КОМПРЕССОРНОЙ СТАНЦИИ 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630" y="53815"/>
            <a:ext cx="2292283" cy="603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479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>
            <a:off x="357130" y="853764"/>
            <a:ext cx="4390361" cy="28520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ts val="10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ЕДПОСЫЛКИ РЕАЛИЗАЦИИ ПРОЕКТА</a:t>
            </a: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  <a:endParaRPr lang="ru-RU" sz="10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defRPr/>
            </a:pP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еудовлетворительное техническое 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остояние </a:t>
            </a: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мпрессоров</a:t>
            </a:r>
            <a:endParaRPr lang="ru-RU" sz="2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fontAlgn="base">
              <a:spcBef>
                <a:spcPts val="100"/>
              </a:spcBef>
              <a:spcAft>
                <a:spcPct val="0"/>
              </a:spcAft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ЕЛЬ 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ЕКТА</a:t>
            </a: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</a:t>
            </a:r>
            <a:endParaRPr lang="en-US" sz="10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fontAlgn="base">
              <a:spcBef>
                <a:spcPts val="100"/>
              </a:spcBef>
              <a:spcAft>
                <a:spcPct val="0"/>
              </a:spcAft>
            </a:pP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вышение надежности работы Производства глубокой переработки нефти</a:t>
            </a:r>
            <a:endParaRPr lang="kk-KZ" sz="200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ОКИ 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АЛИЗАЦИИ ОСНОВНЫХ ЭТАПОВ</a:t>
            </a: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 </a:t>
            </a:r>
            <a:endParaRPr lang="en-US" sz="10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19-2025</a:t>
            </a:r>
          </a:p>
          <a:p>
            <a:pPr>
              <a:spcBef>
                <a:spcPts val="100"/>
              </a:spcBef>
              <a:defRPr/>
            </a:pPr>
            <a:endParaRPr lang="ru-RU" sz="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УММАРНАЯ ПРОИЗВОДИТЕЛЬНОСТЬ КОМПРЕССОРОВ:  </a:t>
            </a:r>
            <a:endParaRPr lang="en-US" sz="10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5 тонн/час.</a:t>
            </a:r>
          </a:p>
          <a:p>
            <a:pPr>
              <a:spcBef>
                <a:spcPts val="100"/>
              </a:spcBef>
              <a:defRPr/>
            </a:pPr>
            <a:endParaRPr lang="ru-RU" sz="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ЕНЕРАЛЬНЫЙ </a:t>
            </a: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ЕКТИРОВЩИК</a:t>
            </a:r>
            <a:endParaRPr lang="en-US" sz="10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О «</a:t>
            </a:r>
            <a:r>
              <a:rPr lang="en-US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G Engineering</a:t>
            </a: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 (г. Алматы)</a:t>
            </a:r>
          </a:p>
          <a:p>
            <a:pPr algn="just">
              <a:spcBef>
                <a:spcPts val="100"/>
              </a:spcBef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ЕНЕРАЛЬНЫЙ </a:t>
            </a: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ДРЯДЧИК  </a:t>
            </a:r>
            <a:endParaRPr lang="en-US" sz="10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r>
              <a:rPr lang="en-US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VC Production</a:t>
            </a:r>
            <a:endParaRPr lang="ru-RU" sz="1000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endParaRPr lang="ru-RU" sz="2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АЛИЗАЦИЯ ПРОЕКТА ПОЗВОЛИТ</a:t>
            </a: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  <a:p>
            <a:pPr>
              <a:spcBef>
                <a:spcPts val="100"/>
              </a:spcBef>
              <a:defRPr/>
            </a:pP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беспечить бесперебойную работу компрессоров</a:t>
            </a:r>
          </a:p>
          <a:p>
            <a:pPr>
              <a:spcBef>
                <a:spcPts val="100"/>
              </a:spcBef>
              <a:defRPr/>
            </a:pP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жирного газа 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изводства глубокой переработки </a:t>
            </a:r>
            <a:r>
              <a:rPr lang="ru-RU" sz="10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ефти</a:t>
            </a:r>
          </a:p>
        </p:txBody>
      </p:sp>
      <p:grpSp>
        <p:nvGrpSpPr>
          <p:cNvPr id="10" name="Группа 9"/>
          <p:cNvGrpSpPr/>
          <p:nvPr/>
        </p:nvGrpSpPr>
        <p:grpSpPr>
          <a:xfrm>
            <a:off x="94370" y="1168135"/>
            <a:ext cx="320199" cy="275376"/>
            <a:chOff x="136051" y="1391752"/>
            <a:chExt cx="419286" cy="434523"/>
          </a:xfrm>
        </p:grpSpPr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/>
          </p:nvSpPr>
          <p:spPr>
            <a:xfrm>
              <a:off x="136051" y="1391752"/>
              <a:ext cx="419286" cy="434523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18" name="Freeform 99"/>
            <p:cNvSpPr>
              <a:spLocks noEditPoints="1"/>
            </p:cNvSpPr>
            <p:nvPr/>
          </p:nvSpPr>
          <p:spPr bwMode="auto">
            <a:xfrm>
              <a:off x="199092" y="1465786"/>
              <a:ext cx="292599" cy="293167"/>
            </a:xfrm>
            <a:custGeom>
              <a:avLst/>
              <a:gdLst>
                <a:gd name="T0" fmla="*/ 0 w 714"/>
                <a:gd name="T1" fmla="*/ 357 h 715"/>
                <a:gd name="T2" fmla="*/ 714 w 714"/>
                <a:gd name="T3" fmla="*/ 357 h 715"/>
                <a:gd name="T4" fmla="*/ 357 w 714"/>
                <a:gd name="T5" fmla="*/ 14 h 715"/>
                <a:gd name="T6" fmla="*/ 357 w 714"/>
                <a:gd name="T7" fmla="*/ 701 h 715"/>
                <a:gd name="T8" fmla="*/ 357 w 714"/>
                <a:gd name="T9" fmla="*/ 14 h 715"/>
                <a:gd name="T10" fmla="*/ 272 w 714"/>
                <a:gd name="T11" fmla="*/ 358 h 715"/>
                <a:gd name="T12" fmla="*/ 442 w 714"/>
                <a:gd name="T13" fmla="*/ 358 h 715"/>
                <a:gd name="T14" fmla="*/ 357 w 714"/>
                <a:gd name="T15" fmla="*/ 287 h 715"/>
                <a:gd name="T16" fmla="*/ 357 w 714"/>
                <a:gd name="T17" fmla="*/ 428 h 715"/>
                <a:gd name="T18" fmla="*/ 357 w 714"/>
                <a:gd name="T19" fmla="*/ 287 h 715"/>
                <a:gd name="T20" fmla="*/ 364 w 714"/>
                <a:gd name="T21" fmla="*/ 7 h 715"/>
                <a:gd name="T22" fmla="*/ 350 w 714"/>
                <a:gd name="T23" fmla="*/ 7 h 715"/>
                <a:gd name="T24" fmla="*/ 357 w 714"/>
                <a:gd name="T25" fmla="*/ 111 h 715"/>
                <a:gd name="T26" fmla="*/ 364 w 714"/>
                <a:gd name="T27" fmla="*/ 708 h 715"/>
                <a:gd name="T28" fmla="*/ 357 w 714"/>
                <a:gd name="T29" fmla="*/ 604 h 715"/>
                <a:gd name="T30" fmla="*/ 350 w 714"/>
                <a:gd name="T31" fmla="*/ 708 h 715"/>
                <a:gd name="T32" fmla="*/ 364 w 714"/>
                <a:gd name="T33" fmla="*/ 708 h 715"/>
                <a:gd name="T34" fmla="*/ 707 w 714"/>
                <a:gd name="T35" fmla="*/ 351 h 715"/>
                <a:gd name="T36" fmla="*/ 603 w 714"/>
                <a:gd name="T37" fmla="*/ 358 h 715"/>
                <a:gd name="T38" fmla="*/ 707 w 714"/>
                <a:gd name="T39" fmla="*/ 365 h 715"/>
                <a:gd name="T40" fmla="*/ 111 w 714"/>
                <a:gd name="T41" fmla="*/ 358 h 715"/>
                <a:gd name="T42" fmla="*/ 7 w 714"/>
                <a:gd name="T43" fmla="*/ 351 h 715"/>
                <a:gd name="T44" fmla="*/ 7 w 714"/>
                <a:gd name="T45" fmla="*/ 365 h 715"/>
                <a:gd name="T46" fmla="*/ 111 w 714"/>
                <a:gd name="T47" fmla="*/ 358 h 715"/>
                <a:gd name="T48" fmla="*/ 364 w 714"/>
                <a:gd name="T49" fmla="*/ 249 h 715"/>
                <a:gd name="T50" fmla="*/ 350 w 714"/>
                <a:gd name="T51" fmla="*/ 249 h 715"/>
                <a:gd name="T52" fmla="*/ 357 w 714"/>
                <a:gd name="T53" fmla="*/ 286 h 715"/>
                <a:gd name="T54" fmla="*/ 364 w 714"/>
                <a:gd name="T55" fmla="*/ 466 h 715"/>
                <a:gd name="T56" fmla="*/ 357 w 714"/>
                <a:gd name="T57" fmla="*/ 429 h 715"/>
                <a:gd name="T58" fmla="*/ 350 w 714"/>
                <a:gd name="T59" fmla="*/ 466 h 715"/>
                <a:gd name="T60" fmla="*/ 364 w 714"/>
                <a:gd name="T61" fmla="*/ 466 h 715"/>
                <a:gd name="T62" fmla="*/ 466 w 714"/>
                <a:gd name="T63" fmla="*/ 351 h 715"/>
                <a:gd name="T64" fmla="*/ 429 w 714"/>
                <a:gd name="T65" fmla="*/ 358 h 715"/>
                <a:gd name="T66" fmla="*/ 466 w 714"/>
                <a:gd name="T67" fmla="*/ 365 h 715"/>
                <a:gd name="T68" fmla="*/ 286 w 714"/>
                <a:gd name="T69" fmla="*/ 358 h 715"/>
                <a:gd name="T70" fmla="*/ 249 w 714"/>
                <a:gd name="T71" fmla="*/ 351 h 715"/>
                <a:gd name="T72" fmla="*/ 249 w 714"/>
                <a:gd name="T73" fmla="*/ 365 h 715"/>
                <a:gd name="T74" fmla="*/ 286 w 714"/>
                <a:gd name="T75" fmla="*/ 358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14" h="715">
                  <a:moveTo>
                    <a:pt x="357" y="715"/>
                  </a:moveTo>
                  <a:cubicBezTo>
                    <a:pt x="160" y="715"/>
                    <a:pt x="0" y="554"/>
                    <a:pt x="0" y="357"/>
                  </a:cubicBezTo>
                  <a:cubicBezTo>
                    <a:pt x="0" y="161"/>
                    <a:pt x="160" y="0"/>
                    <a:pt x="357" y="0"/>
                  </a:cubicBezTo>
                  <a:cubicBezTo>
                    <a:pt x="554" y="0"/>
                    <a:pt x="714" y="161"/>
                    <a:pt x="714" y="357"/>
                  </a:cubicBezTo>
                  <a:cubicBezTo>
                    <a:pt x="714" y="554"/>
                    <a:pt x="554" y="715"/>
                    <a:pt x="357" y="715"/>
                  </a:cubicBezTo>
                  <a:close/>
                  <a:moveTo>
                    <a:pt x="357" y="14"/>
                  </a:moveTo>
                  <a:cubicBezTo>
                    <a:pt x="168" y="14"/>
                    <a:pt x="14" y="168"/>
                    <a:pt x="14" y="357"/>
                  </a:cubicBezTo>
                  <a:cubicBezTo>
                    <a:pt x="14" y="547"/>
                    <a:pt x="168" y="701"/>
                    <a:pt x="357" y="701"/>
                  </a:cubicBezTo>
                  <a:cubicBezTo>
                    <a:pt x="546" y="701"/>
                    <a:pt x="700" y="547"/>
                    <a:pt x="700" y="357"/>
                  </a:cubicBezTo>
                  <a:cubicBezTo>
                    <a:pt x="700" y="168"/>
                    <a:pt x="546" y="14"/>
                    <a:pt x="357" y="14"/>
                  </a:cubicBezTo>
                  <a:close/>
                  <a:moveTo>
                    <a:pt x="357" y="442"/>
                  </a:moveTo>
                  <a:cubicBezTo>
                    <a:pt x="310" y="442"/>
                    <a:pt x="272" y="404"/>
                    <a:pt x="272" y="358"/>
                  </a:cubicBezTo>
                  <a:cubicBezTo>
                    <a:pt x="272" y="311"/>
                    <a:pt x="310" y="273"/>
                    <a:pt x="357" y="273"/>
                  </a:cubicBezTo>
                  <a:cubicBezTo>
                    <a:pt x="404" y="273"/>
                    <a:pt x="442" y="311"/>
                    <a:pt x="442" y="358"/>
                  </a:cubicBezTo>
                  <a:cubicBezTo>
                    <a:pt x="442" y="404"/>
                    <a:pt x="404" y="442"/>
                    <a:pt x="357" y="442"/>
                  </a:cubicBezTo>
                  <a:close/>
                  <a:moveTo>
                    <a:pt x="357" y="287"/>
                  </a:moveTo>
                  <a:cubicBezTo>
                    <a:pt x="318" y="287"/>
                    <a:pt x="286" y="318"/>
                    <a:pt x="286" y="358"/>
                  </a:cubicBezTo>
                  <a:cubicBezTo>
                    <a:pt x="286" y="397"/>
                    <a:pt x="318" y="428"/>
                    <a:pt x="357" y="428"/>
                  </a:cubicBezTo>
                  <a:cubicBezTo>
                    <a:pt x="396" y="428"/>
                    <a:pt x="428" y="397"/>
                    <a:pt x="428" y="358"/>
                  </a:cubicBezTo>
                  <a:cubicBezTo>
                    <a:pt x="428" y="318"/>
                    <a:pt x="396" y="287"/>
                    <a:pt x="357" y="287"/>
                  </a:cubicBezTo>
                  <a:close/>
                  <a:moveTo>
                    <a:pt x="364" y="104"/>
                  </a:moveTo>
                  <a:cubicBezTo>
                    <a:pt x="364" y="7"/>
                    <a:pt x="364" y="7"/>
                    <a:pt x="364" y="7"/>
                  </a:cubicBezTo>
                  <a:cubicBezTo>
                    <a:pt x="364" y="4"/>
                    <a:pt x="361" y="0"/>
                    <a:pt x="357" y="0"/>
                  </a:cubicBezTo>
                  <a:cubicBezTo>
                    <a:pt x="353" y="0"/>
                    <a:pt x="350" y="4"/>
                    <a:pt x="350" y="7"/>
                  </a:cubicBezTo>
                  <a:cubicBezTo>
                    <a:pt x="350" y="104"/>
                    <a:pt x="350" y="104"/>
                    <a:pt x="350" y="104"/>
                  </a:cubicBezTo>
                  <a:cubicBezTo>
                    <a:pt x="350" y="108"/>
                    <a:pt x="353" y="111"/>
                    <a:pt x="357" y="111"/>
                  </a:cubicBezTo>
                  <a:cubicBezTo>
                    <a:pt x="361" y="111"/>
                    <a:pt x="364" y="108"/>
                    <a:pt x="364" y="104"/>
                  </a:cubicBezTo>
                  <a:close/>
                  <a:moveTo>
                    <a:pt x="364" y="708"/>
                  </a:moveTo>
                  <a:cubicBezTo>
                    <a:pt x="364" y="611"/>
                    <a:pt x="364" y="611"/>
                    <a:pt x="364" y="611"/>
                  </a:cubicBezTo>
                  <a:cubicBezTo>
                    <a:pt x="364" y="607"/>
                    <a:pt x="361" y="604"/>
                    <a:pt x="357" y="604"/>
                  </a:cubicBezTo>
                  <a:cubicBezTo>
                    <a:pt x="353" y="604"/>
                    <a:pt x="350" y="607"/>
                    <a:pt x="350" y="611"/>
                  </a:cubicBezTo>
                  <a:cubicBezTo>
                    <a:pt x="350" y="708"/>
                    <a:pt x="350" y="708"/>
                    <a:pt x="350" y="708"/>
                  </a:cubicBezTo>
                  <a:cubicBezTo>
                    <a:pt x="350" y="711"/>
                    <a:pt x="353" y="715"/>
                    <a:pt x="357" y="715"/>
                  </a:cubicBezTo>
                  <a:cubicBezTo>
                    <a:pt x="361" y="715"/>
                    <a:pt x="364" y="711"/>
                    <a:pt x="364" y="708"/>
                  </a:cubicBezTo>
                  <a:close/>
                  <a:moveTo>
                    <a:pt x="714" y="358"/>
                  </a:moveTo>
                  <a:cubicBezTo>
                    <a:pt x="714" y="354"/>
                    <a:pt x="711" y="351"/>
                    <a:pt x="707" y="351"/>
                  </a:cubicBezTo>
                  <a:cubicBezTo>
                    <a:pt x="610" y="351"/>
                    <a:pt x="610" y="351"/>
                    <a:pt x="610" y="351"/>
                  </a:cubicBezTo>
                  <a:cubicBezTo>
                    <a:pt x="606" y="351"/>
                    <a:pt x="603" y="354"/>
                    <a:pt x="603" y="358"/>
                  </a:cubicBezTo>
                  <a:cubicBezTo>
                    <a:pt x="603" y="361"/>
                    <a:pt x="606" y="365"/>
                    <a:pt x="610" y="365"/>
                  </a:cubicBezTo>
                  <a:cubicBezTo>
                    <a:pt x="707" y="365"/>
                    <a:pt x="707" y="365"/>
                    <a:pt x="707" y="365"/>
                  </a:cubicBezTo>
                  <a:cubicBezTo>
                    <a:pt x="711" y="365"/>
                    <a:pt x="714" y="361"/>
                    <a:pt x="714" y="358"/>
                  </a:cubicBezTo>
                  <a:close/>
                  <a:moveTo>
                    <a:pt x="111" y="358"/>
                  </a:moveTo>
                  <a:cubicBezTo>
                    <a:pt x="111" y="354"/>
                    <a:pt x="108" y="351"/>
                    <a:pt x="104" y="351"/>
                  </a:cubicBezTo>
                  <a:cubicBezTo>
                    <a:pt x="7" y="351"/>
                    <a:pt x="7" y="351"/>
                    <a:pt x="7" y="351"/>
                  </a:cubicBezTo>
                  <a:cubicBezTo>
                    <a:pt x="3" y="351"/>
                    <a:pt x="0" y="354"/>
                    <a:pt x="0" y="358"/>
                  </a:cubicBezTo>
                  <a:cubicBezTo>
                    <a:pt x="0" y="361"/>
                    <a:pt x="3" y="365"/>
                    <a:pt x="7" y="365"/>
                  </a:cubicBezTo>
                  <a:cubicBezTo>
                    <a:pt x="104" y="365"/>
                    <a:pt x="104" y="365"/>
                    <a:pt x="104" y="365"/>
                  </a:cubicBezTo>
                  <a:cubicBezTo>
                    <a:pt x="108" y="365"/>
                    <a:pt x="111" y="361"/>
                    <a:pt x="111" y="358"/>
                  </a:cubicBezTo>
                  <a:close/>
                  <a:moveTo>
                    <a:pt x="364" y="279"/>
                  </a:moveTo>
                  <a:cubicBezTo>
                    <a:pt x="364" y="249"/>
                    <a:pt x="364" y="249"/>
                    <a:pt x="364" y="249"/>
                  </a:cubicBezTo>
                  <a:cubicBezTo>
                    <a:pt x="364" y="245"/>
                    <a:pt x="361" y="242"/>
                    <a:pt x="357" y="242"/>
                  </a:cubicBezTo>
                  <a:cubicBezTo>
                    <a:pt x="353" y="242"/>
                    <a:pt x="350" y="245"/>
                    <a:pt x="350" y="249"/>
                  </a:cubicBezTo>
                  <a:cubicBezTo>
                    <a:pt x="350" y="279"/>
                    <a:pt x="350" y="279"/>
                    <a:pt x="350" y="279"/>
                  </a:cubicBezTo>
                  <a:cubicBezTo>
                    <a:pt x="350" y="283"/>
                    <a:pt x="353" y="286"/>
                    <a:pt x="357" y="286"/>
                  </a:cubicBezTo>
                  <a:cubicBezTo>
                    <a:pt x="361" y="286"/>
                    <a:pt x="364" y="283"/>
                    <a:pt x="364" y="279"/>
                  </a:cubicBezTo>
                  <a:close/>
                  <a:moveTo>
                    <a:pt x="364" y="466"/>
                  </a:moveTo>
                  <a:cubicBezTo>
                    <a:pt x="364" y="436"/>
                    <a:pt x="364" y="436"/>
                    <a:pt x="364" y="436"/>
                  </a:cubicBezTo>
                  <a:cubicBezTo>
                    <a:pt x="364" y="432"/>
                    <a:pt x="361" y="429"/>
                    <a:pt x="357" y="429"/>
                  </a:cubicBezTo>
                  <a:cubicBezTo>
                    <a:pt x="353" y="429"/>
                    <a:pt x="350" y="432"/>
                    <a:pt x="350" y="436"/>
                  </a:cubicBezTo>
                  <a:cubicBezTo>
                    <a:pt x="350" y="466"/>
                    <a:pt x="350" y="466"/>
                    <a:pt x="350" y="466"/>
                  </a:cubicBezTo>
                  <a:cubicBezTo>
                    <a:pt x="350" y="470"/>
                    <a:pt x="353" y="473"/>
                    <a:pt x="357" y="473"/>
                  </a:cubicBezTo>
                  <a:cubicBezTo>
                    <a:pt x="361" y="473"/>
                    <a:pt x="364" y="470"/>
                    <a:pt x="364" y="466"/>
                  </a:cubicBezTo>
                  <a:close/>
                  <a:moveTo>
                    <a:pt x="473" y="358"/>
                  </a:moveTo>
                  <a:cubicBezTo>
                    <a:pt x="473" y="354"/>
                    <a:pt x="470" y="351"/>
                    <a:pt x="466" y="351"/>
                  </a:cubicBezTo>
                  <a:cubicBezTo>
                    <a:pt x="436" y="351"/>
                    <a:pt x="436" y="351"/>
                    <a:pt x="436" y="351"/>
                  </a:cubicBezTo>
                  <a:cubicBezTo>
                    <a:pt x="432" y="351"/>
                    <a:pt x="429" y="354"/>
                    <a:pt x="429" y="358"/>
                  </a:cubicBezTo>
                  <a:cubicBezTo>
                    <a:pt x="429" y="361"/>
                    <a:pt x="432" y="365"/>
                    <a:pt x="436" y="365"/>
                  </a:cubicBezTo>
                  <a:cubicBezTo>
                    <a:pt x="466" y="365"/>
                    <a:pt x="466" y="365"/>
                    <a:pt x="466" y="365"/>
                  </a:cubicBezTo>
                  <a:cubicBezTo>
                    <a:pt x="470" y="365"/>
                    <a:pt x="473" y="361"/>
                    <a:pt x="473" y="358"/>
                  </a:cubicBezTo>
                  <a:close/>
                  <a:moveTo>
                    <a:pt x="286" y="358"/>
                  </a:moveTo>
                  <a:cubicBezTo>
                    <a:pt x="286" y="354"/>
                    <a:pt x="282" y="351"/>
                    <a:pt x="279" y="351"/>
                  </a:cubicBezTo>
                  <a:cubicBezTo>
                    <a:pt x="249" y="351"/>
                    <a:pt x="249" y="351"/>
                    <a:pt x="249" y="351"/>
                  </a:cubicBezTo>
                  <a:cubicBezTo>
                    <a:pt x="245" y="351"/>
                    <a:pt x="242" y="354"/>
                    <a:pt x="242" y="358"/>
                  </a:cubicBezTo>
                  <a:cubicBezTo>
                    <a:pt x="242" y="361"/>
                    <a:pt x="245" y="365"/>
                    <a:pt x="249" y="365"/>
                  </a:cubicBezTo>
                  <a:cubicBezTo>
                    <a:pt x="279" y="365"/>
                    <a:pt x="279" y="365"/>
                    <a:pt x="279" y="365"/>
                  </a:cubicBezTo>
                  <a:cubicBezTo>
                    <a:pt x="282" y="365"/>
                    <a:pt x="286" y="361"/>
                    <a:pt x="286" y="35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94372" y="1639971"/>
            <a:ext cx="320197" cy="275376"/>
            <a:chOff x="151990" y="1375424"/>
            <a:chExt cx="320197" cy="275376"/>
          </a:xfrm>
        </p:grpSpPr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/>
          </p:nvSpPr>
          <p:spPr>
            <a:xfrm>
              <a:off x="151990" y="1375424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31" name="Freeform 98"/>
            <p:cNvSpPr>
              <a:spLocks noEditPoints="1"/>
            </p:cNvSpPr>
            <p:nvPr/>
          </p:nvSpPr>
          <p:spPr bwMode="auto">
            <a:xfrm>
              <a:off x="188017" y="1411432"/>
              <a:ext cx="227256" cy="196697"/>
            </a:xfrm>
            <a:custGeom>
              <a:avLst/>
              <a:gdLst>
                <a:gd name="T0" fmla="*/ 486 w 714"/>
                <a:gd name="T1" fmla="*/ 214 h 715"/>
                <a:gd name="T2" fmla="*/ 375 w 714"/>
                <a:gd name="T3" fmla="*/ 329 h 715"/>
                <a:gd name="T4" fmla="*/ 357 w 714"/>
                <a:gd name="T5" fmla="*/ 324 h 715"/>
                <a:gd name="T6" fmla="*/ 342 w 714"/>
                <a:gd name="T7" fmla="*/ 327 h 715"/>
                <a:gd name="T8" fmla="*/ 183 w 714"/>
                <a:gd name="T9" fmla="*/ 124 h 715"/>
                <a:gd name="T10" fmla="*/ 173 w 714"/>
                <a:gd name="T11" fmla="*/ 123 h 715"/>
                <a:gd name="T12" fmla="*/ 172 w 714"/>
                <a:gd name="T13" fmla="*/ 133 h 715"/>
                <a:gd name="T14" fmla="*/ 331 w 714"/>
                <a:gd name="T15" fmla="*/ 336 h 715"/>
                <a:gd name="T16" fmla="*/ 323 w 714"/>
                <a:gd name="T17" fmla="*/ 358 h 715"/>
                <a:gd name="T18" fmla="*/ 357 w 714"/>
                <a:gd name="T19" fmla="*/ 391 h 715"/>
                <a:gd name="T20" fmla="*/ 390 w 714"/>
                <a:gd name="T21" fmla="*/ 358 h 715"/>
                <a:gd name="T22" fmla="*/ 385 w 714"/>
                <a:gd name="T23" fmla="*/ 339 h 715"/>
                <a:gd name="T24" fmla="*/ 496 w 714"/>
                <a:gd name="T25" fmla="*/ 223 h 715"/>
                <a:gd name="T26" fmla="*/ 496 w 714"/>
                <a:gd name="T27" fmla="*/ 213 h 715"/>
                <a:gd name="T28" fmla="*/ 486 w 714"/>
                <a:gd name="T29" fmla="*/ 214 h 715"/>
                <a:gd name="T30" fmla="*/ 357 w 714"/>
                <a:gd name="T31" fmla="*/ 377 h 715"/>
                <a:gd name="T32" fmla="*/ 337 w 714"/>
                <a:gd name="T33" fmla="*/ 358 h 715"/>
                <a:gd name="T34" fmla="*/ 357 w 714"/>
                <a:gd name="T35" fmla="*/ 338 h 715"/>
                <a:gd name="T36" fmla="*/ 376 w 714"/>
                <a:gd name="T37" fmla="*/ 358 h 715"/>
                <a:gd name="T38" fmla="*/ 357 w 714"/>
                <a:gd name="T39" fmla="*/ 377 h 715"/>
                <a:gd name="T40" fmla="*/ 714 w 714"/>
                <a:gd name="T41" fmla="*/ 358 h 715"/>
                <a:gd name="T42" fmla="*/ 714 w 714"/>
                <a:gd name="T43" fmla="*/ 358 h 715"/>
                <a:gd name="T44" fmla="*/ 357 w 714"/>
                <a:gd name="T45" fmla="*/ 0 h 715"/>
                <a:gd name="T46" fmla="*/ 357 w 714"/>
                <a:gd name="T47" fmla="*/ 0 h 715"/>
                <a:gd name="T48" fmla="*/ 357 w 714"/>
                <a:gd name="T49" fmla="*/ 0 h 715"/>
                <a:gd name="T50" fmla="*/ 357 w 714"/>
                <a:gd name="T51" fmla="*/ 0 h 715"/>
                <a:gd name="T52" fmla="*/ 0 w 714"/>
                <a:gd name="T53" fmla="*/ 358 h 715"/>
                <a:gd name="T54" fmla="*/ 0 w 714"/>
                <a:gd name="T55" fmla="*/ 358 h 715"/>
                <a:gd name="T56" fmla="*/ 0 w 714"/>
                <a:gd name="T57" fmla="*/ 358 h 715"/>
                <a:gd name="T58" fmla="*/ 0 w 714"/>
                <a:gd name="T59" fmla="*/ 358 h 715"/>
                <a:gd name="T60" fmla="*/ 357 w 714"/>
                <a:gd name="T61" fmla="*/ 715 h 715"/>
                <a:gd name="T62" fmla="*/ 357 w 714"/>
                <a:gd name="T63" fmla="*/ 715 h 715"/>
                <a:gd name="T64" fmla="*/ 357 w 714"/>
                <a:gd name="T65" fmla="*/ 715 h 715"/>
                <a:gd name="T66" fmla="*/ 357 w 714"/>
                <a:gd name="T67" fmla="*/ 715 h 715"/>
                <a:gd name="T68" fmla="*/ 714 w 714"/>
                <a:gd name="T69" fmla="*/ 358 h 715"/>
                <a:gd name="T70" fmla="*/ 714 w 714"/>
                <a:gd name="T71" fmla="*/ 358 h 715"/>
                <a:gd name="T72" fmla="*/ 364 w 714"/>
                <a:gd name="T73" fmla="*/ 700 h 715"/>
                <a:gd name="T74" fmla="*/ 364 w 714"/>
                <a:gd name="T75" fmla="*/ 662 h 715"/>
                <a:gd name="T76" fmla="*/ 357 w 714"/>
                <a:gd name="T77" fmla="*/ 655 h 715"/>
                <a:gd name="T78" fmla="*/ 350 w 714"/>
                <a:gd name="T79" fmla="*/ 662 h 715"/>
                <a:gd name="T80" fmla="*/ 350 w 714"/>
                <a:gd name="T81" fmla="*/ 700 h 715"/>
                <a:gd name="T82" fmla="*/ 14 w 714"/>
                <a:gd name="T83" fmla="*/ 365 h 715"/>
                <a:gd name="T84" fmla="*/ 52 w 714"/>
                <a:gd name="T85" fmla="*/ 365 h 715"/>
                <a:gd name="T86" fmla="*/ 59 w 714"/>
                <a:gd name="T87" fmla="*/ 358 h 715"/>
                <a:gd name="T88" fmla="*/ 52 w 714"/>
                <a:gd name="T89" fmla="*/ 351 h 715"/>
                <a:gd name="T90" fmla="*/ 14 w 714"/>
                <a:gd name="T91" fmla="*/ 351 h 715"/>
                <a:gd name="T92" fmla="*/ 350 w 714"/>
                <a:gd name="T93" fmla="*/ 15 h 715"/>
                <a:gd name="T94" fmla="*/ 350 w 714"/>
                <a:gd name="T95" fmla="*/ 53 h 715"/>
                <a:gd name="T96" fmla="*/ 357 w 714"/>
                <a:gd name="T97" fmla="*/ 60 h 715"/>
                <a:gd name="T98" fmla="*/ 364 w 714"/>
                <a:gd name="T99" fmla="*/ 53 h 715"/>
                <a:gd name="T100" fmla="*/ 364 w 714"/>
                <a:gd name="T101" fmla="*/ 15 h 715"/>
                <a:gd name="T102" fmla="*/ 699 w 714"/>
                <a:gd name="T103" fmla="*/ 351 h 715"/>
                <a:gd name="T104" fmla="*/ 661 w 714"/>
                <a:gd name="T105" fmla="*/ 351 h 715"/>
                <a:gd name="T106" fmla="*/ 654 w 714"/>
                <a:gd name="T107" fmla="*/ 358 h 715"/>
                <a:gd name="T108" fmla="*/ 661 w 714"/>
                <a:gd name="T109" fmla="*/ 365 h 715"/>
                <a:gd name="T110" fmla="*/ 699 w 714"/>
                <a:gd name="T111" fmla="*/ 365 h 715"/>
                <a:gd name="T112" fmla="*/ 364 w 714"/>
                <a:gd name="T113" fmla="*/ 700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4" h="715">
                  <a:moveTo>
                    <a:pt x="486" y="214"/>
                  </a:moveTo>
                  <a:cubicBezTo>
                    <a:pt x="375" y="329"/>
                    <a:pt x="375" y="329"/>
                    <a:pt x="375" y="329"/>
                  </a:cubicBezTo>
                  <a:cubicBezTo>
                    <a:pt x="369" y="326"/>
                    <a:pt x="363" y="324"/>
                    <a:pt x="357" y="324"/>
                  </a:cubicBezTo>
                  <a:cubicBezTo>
                    <a:pt x="351" y="324"/>
                    <a:pt x="346" y="325"/>
                    <a:pt x="342" y="327"/>
                  </a:cubicBezTo>
                  <a:cubicBezTo>
                    <a:pt x="183" y="124"/>
                    <a:pt x="183" y="124"/>
                    <a:pt x="183" y="124"/>
                  </a:cubicBezTo>
                  <a:cubicBezTo>
                    <a:pt x="180" y="121"/>
                    <a:pt x="176" y="121"/>
                    <a:pt x="173" y="123"/>
                  </a:cubicBezTo>
                  <a:cubicBezTo>
                    <a:pt x="170" y="126"/>
                    <a:pt x="169" y="130"/>
                    <a:pt x="172" y="133"/>
                  </a:cubicBezTo>
                  <a:cubicBezTo>
                    <a:pt x="331" y="336"/>
                    <a:pt x="331" y="336"/>
                    <a:pt x="331" y="336"/>
                  </a:cubicBezTo>
                  <a:cubicBezTo>
                    <a:pt x="326" y="342"/>
                    <a:pt x="323" y="349"/>
                    <a:pt x="323" y="358"/>
                  </a:cubicBezTo>
                  <a:cubicBezTo>
                    <a:pt x="323" y="376"/>
                    <a:pt x="338" y="391"/>
                    <a:pt x="357" y="391"/>
                  </a:cubicBezTo>
                  <a:cubicBezTo>
                    <a:pt x="375" y="391"/>
                    <a:pt x="390" y="376"/>
                    <a:pt x="390" y="358"/>
                  </a:cubicBezTo>
                  <a:cubicBezTo>
                    <a:pt x="390" y="351"/>
                    <a:pt x="388" y="344"/>
                    <a:pt x="385" y="339"/>
                  </a:cubicBezTo>
                  <a:cubicBezTo>
                    <a:pt x="496" y="223"/>
                    <a:pt x="496" y="223"/>
                    <a:pt x="496" y="223"/>
                  </a:cubicBezTo>
                  <a:cubicBezTo>
                    <a:pt x="499" y="220"/>
                    <a:pt x="499" y="216"/>
                    <a:pt x="496" y="213"/>
                  </a:cubicBezTo>
                  <a:cubicBezTo>
                    <a:pt x="493" y="211"/>
                    <a:pt x="489" y="211"/>
                    <a:pt x="486" y="214"/>
                  </a:cubicBezTo>
                  <a:close/>
                  <a:moveTo>
                    <a:pt x="357" y="377"/>
                  </a:moveTo>
                  <a:cubicBezTo>
                    <a:pt x="346" y="377"/>
                    <a:pt x="337" y="368"/>
                    <a:pt x="337" y="358"/>
                  </a:cubicBezTo>
                  <a:cubicBezTo>
                    <a:pt x="337" y="347"/>
                    <a:pt x="346" y="338"/>
                    <a:pt x="357" y="338"/>
                  </a:cubicBezTo>
                  <a:cubicBezTo>
                    <a:pt x="368" y="338"/>
                    <a:pt x="376" y="347"/>
                    <a:pt x="376" y="358"/>
                  </a:cubicBezTo>
                  <a:cubicBezTo>
                    <a:pt x="376" y="368"/>
                    <a:pt x="368" y="377"/>
                    <a:pt x="357" y="377"/>
                  </a:cubicBezTo>
                  <a:close/>
                  <a:moveTo>
                    <a:pt x="714" y="358"/>
                  </a:moveTo>
                  <a:cubicBezTo>
                    <a:pt x="714" y="358"/>
                    <a:pt x="714" y="358"/>
                    <a:pt x="714" y="358"/>
                  </a:cubicBezTo>
                  <a:cubicBezTo>
                    <a:pt x="714" y="161"/>
                    <a:pt x="553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160" y="0"/>
                    <a:pt x="0" y="161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554"/>
                    <a:pt x="160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553" y="715"/>
                    <a:pt x="714" y="554"/>
                    <a:pt x="714" y="358"/>
                  </a:cubicBezTo>
                  <a:cubicBezTo>
                    <a:pt x="714" y="358"/>
                    <a:pt x="714" y="358"/>
                    <a:pt x="714" y="358"/>
                  </a:cubicBezTo>
                  <a:close/>
                  <a:moveTo>
                    <a:pt x="364" y="700"/>
                  </a:moveTo>
                  <a:cubicBezTo>
                    <a:pt x="364" y="662"/>
                    <a:pt x="364" y="662"/>
                    <a:pt x="364" y="662"/>
                  </a:cubicBezTo>
                  <a:cubicBezTo>
                    <a:pt x="364" y="658"/>
                    <a:pt x="360" y="655"/>
                    <a:pt x="357" y="655"/>
                  </a:cubicBezTo>
                  <a:cubicBezTo>
                    <a:pt x="353" y="655"/>
                    <a:pt x="350" y="658"/>
                    <a:pt x="350" y="662"/>
                  </a:cubicBezTo>
                  <a:cubicBezTo>
                    <a:pt x="350" y="700"/>
                    <a:pt x="350" y="700"/>
                    <a:pt x="350" y="700"/>
                  </a:cubicBezTo>
                  <a:cubicBezTo>
                    <a:pt x="166" y="697"/>
                    <a:pt x="17" y="548"/>
                    <a:pt x="14" y="365"/>
                  </a:cubicBezTo>
                  <a:cubicBezTo>
                    <a:pt x="52" y="365"/>
                    <a:pt x="52" y="365"/>
                    <a:pt x="52" y="365"/>
                  </a:cubicBezTo>
                  <a:cubicBezTo>
                    <a:pt x="56" y="365"/>
                    <a:pt x="59" y="361"/>
                    <a:pt x="59" y="358"/>
                  </a:cubicBezTo>
                  <a:cubicBezTo>
                    <a:pt x="59" y="354"/>
                    <a:pt x="56" y="351"/>
                    <a:pt x="52" y="351"/>
                  </a:cubicBezTo>
                  <a:cubicBezTo>
                    <a:pt x="14" y="351"/>
                    <a:pt x="14" y="351"/>
                    <a:pt x="14" y="351"/>
                  </a:cubicBezTo>
                  <a:cubicBezTo>
                    <a:pt x="17" y="167"/>
                    <a:pt x="166" y="18"/>
                    <a:pt x="350" y="15"/>
                  </a:cubicBezTo>
                  <a:cubicBezTo>
                    <a:pt x="350" y="53"/>
                    <a:pt x="350" y="53"/>
                    <a:pt x="350" y="53"/>
                  </a:cubicBezTo>
                  <a:cubicBezTo>
                    <a:pt x="350" y="57"/>
                    <a:pt x="353" y="60"/>
                    <a:pt x="357" y="60"/>
                  </a:cubicBezTo>
                  <a:cubicBezTo>
                    <a:pt x="360" y="60"/>
                    <a:pt x="364" y="57"/>
                    <a:pt x="364" y="53"/>
                  </a:cubicBezTo>
                  <a:cubicBezTo>
                    <a:pt x="364" y="15"/>
                    <a:pt x="364" y="15"/>
                    <a:pt x="364" y="15"/>
                  </a:cubicBezTo>
                  <a:cubicBezTo>
                    <a:pt x="547" y="18"/>
                    <a:pt x="696" y="167"/>
                    <a:pt x="699" y="351"/>
                  </a:cubicBezTo>
                  <a:cubicBezTo>
                    <a:pt x="661" y="351"/>
                    <a:pt x="661" y="351"/>
                    <a:pt x="661" y="351"/>
                  </a:cubicBezTo>
                  <a:cubicBezTo>
                    <a:pt x="657" y="351"/>
                    <a:pt x="654" y="354"/>
                    <a:pt x="654" y="358"/>
                  </a:cubicBezTo>
                  <a:cubicBezTo>
                    <a:pt x="654" y="361"/>
                    <a:pt x="657" y="365"/>
                    <a:pt x="661" y="365"/>
                  </a:cubicBezTo>
                  <a:cubicBezTo>
                    <a:pt x="699" y="365"/>
                    <a:pt x="699" y="365"/>
                    <a:pt x="699" y="365"/>
                  </a:cubicBezTo>
                  <a:cubicBezTo>
                    <a:pt x="696" y="548"/>
                    <a:pt x="547" y="697"/>
                    <a:pt x="364" y="7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103850" y="860909"/>
            <a:ext cx="320197" cy="275376"/>
            <a:chOff x="139227" y="1865668"/>
            <a:chExt cx="320197" cy="275376"/>
          </a:xfrm>
        </p:grpSpPr>
        <p:sp>
          <p:nvSpPr>
            <p:cNvPr id="30" name="Овал 29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/>
          </p:nvSpPr>
          <p:spPr>
            <a:xfrm>
              <a:off x="139227" y="1865668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36" name="Freeform 123"/>
            <p:cNvSpPr>
              <a:spLocks noEditPoints="1"/>
            </p:cNvSpPr>
            <p:nvPr/>
          </p:nvSpPr>
          <p:spPr bwMode="auto">
            <a:xfrm>
              <a:off x="171777" y="1907951"/>
              <a:ext cx="224157" cy="182295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80922" y="2341078"/>
            <a:ext cx="320197" cy="275376"/>
            <a:chOff x="144952" y="2751503"/>
            <a:chExt cx="320197" cy="275376"/>
          </a:xfrm>
        </p:grpSpPr>
        <p:sp>
          <p:nvSpPr>
            <p:cNvPr id="34" name="Овал 33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/>
          </p:nvSpPr>
          <p:spPr>
            <a:xfrm>
              <a:off x="144952" y="2751503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grpSp>
          <p:nvGrpSpPr>
            <p:cNvPr id="24" name="Группа 23"/>
            <p:cNvGrpSpPr/>
            <p:nvPr/>
          </p:nvGrpSpPr>
          <p:grpSpPr>
            <a:xfrm>
              <a:off x="186863" y="2784728"/>
              <a:ext cx="233268" cy="168052"/>
              <a:chOff x="106498" y="1660238"/>
              <a:chExt cx="184763" cy="153786"/>
            </a:xfrm>
          </p:grpSpPr>
          <p:sp>
            <p:nvSpPr>
              <p:cNvPr id="43" name="Freeform 12"/>
              <p:cNvSpPr>
                <a:spLocks/>
              </p:cNvSpPr>
              <p:nvPr/>
            </p:nvSpPr>
            <p:spPr bwMode="auto">
              <a:xfrm>
                <a:off x="106498" y="1660238"/>
                <a:ext cx="124635" cy="153786"/>
              </a:xfrm>
              <a:custGeom>
                <a:avLst/>
                <a:gdLst>
                  <a:gd name="T0" fmla="*/ 8 w 150"/>
                  <a:gd name="T1" fmla="*/ 145 h 145"/>
                  <a:gd name="T2" fmla="*/ 19 w 150"/>
                  <a:gd name="T3" fmla="*/ 119 h 145"/>
                  <a:gd name="T4" fmla="*/ 57 w 150"/>
                  <a:gd name="T5" fmla="*/ 86 h 145"/>
                  <a:gd name="T6" fmla="*/ 38 w 150"/>
                  <a:gd name="T7" fmla="*/ 46 h 145"/>
                  <a:gd name="T8" fmla="*/ 77 w 150"/>
                  <a:gd name="T9" fmla="*/ 0 h 145"/>
                  <a:gd name="T10" fmla="*/ 114 w 150"/>
                  <a:gd name="T11" fmla="*/ 50 h 145"/>
                  <a:gd name="T12" fmla="*/ 96 w 150"/>
                  <a:gd name="T13" fmla="*/ 87 h 145"/>
                  <a:gd name="T14" fmla="*/ 136 w 150"/>
                  <a:gd name="T15" fmla="*/ 117 h 145"/>
                  <a:gd name="T16" fmla="*/ 150 w 150"/>
                  <a:gd name="T17" fmla="*/ 145 h 145"/>
                  <a:gd name="T18" fmla="*/ 8 w 150"/>
                  <a:gd name="T19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0" h="145">
                    <a:moveTo>
                      <a:pt x="8" y="145"/>
                    </a:moveTo>
                    <a:cubicBezTo>
                      <a:pt x="8" y="145"/>
                      <a:pt x="0" y="125"/>
                      <a:pt x="19" y="119"/>
                    </a:cubicBezTo>
                    <a:cubicBezTo>
                      <a:pt x="38" y="113"/>
                      <a:pt x="57" y="107"/>
                      <a:pt x="57" y="86"/>
                    </a:cubicBezTo>
                    <a:cubicBezTo>
                      <a:pt x="57" y="86"/>
                      <a:pt x="38" y="78"/>
                      <a:pt x="38" y="46"/>
                    </a:cubicBezTo>
                    <a:cubicBezTo>
                      <a:pt x="38" y="17"/>
                      <a:pt x="53" y="0"/>
                      <a:pt x="77" y="0"/>
                    </a:cubicBezTo>
                    <a:cubicBezTo>
                      <a:pt x="100" y="0"/>
                      <a:pt x="114" y="19"/>
                      <a:pt x="114" y="50"/>
                    </a:cubicBezTo>
                    <a:cubicBezTo>
                      <a:pt x="114" y="50"/>
                      <a:pt x="109" y="80"/>
                      <a:pt x="96" y="87"/>
                    </a:cubicBezTo>
                    <a:cubicBezTo>
                      <a:pt x="96" y="92"/>
                      <a:pt x="93" y="111"/>
                      <a:pt x="136" y="117"/>
                    </a:cubicBezTo>
                    <a:cubicBezTo>
                      <a:pt x="149" y="119"/>
                      <a:pt x="150" y="132"/>
                      <a:pt x="150" y="145"/>
                    </a:cubicBezTo>
                    <a:lnTo>
                      <a:pt x="8" y="14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13"/>
              <p:cNvSpPr>
                <a:spLocks/>
              </p:cNvSpPr>
              <p:nvPr/>
            </p:nvSpPr>
            <p:spPr bwMode="auto">
              <a:xfrm>
                <a:off x="210764" y="1689384"/>
                <a:ext cx="80497" cy="124640"/>
              </a:xfrm>
              <a:custGeom>
                <a:avLst/>
                <a:gdLst>
                  <a:gd name="T0" fmla="*/ 29 w 96"/>
                  <a:gd name="T1" fmla="*/ 125 h 125"/>
                  <a:gd name="T2" fmla="*/ 96 w 96"/>
                  <a:gd name="T3" fmla="*/ 125 h 125"/>
                  <a:gd name="T4" fmla="*/ 85 w 96"/>
                  <a:gd name="T5" fmla="*/ 101 h 125"/>
                  <a:gd name="T6" fmla="*/ 50 w 96"/>
                  <a:gd name="T7" fmla="*/ 75 h 125"/>
                  <a:gd name="T8" fmla="*/ 66 w 96"/>
                  <a:gd name="T9" fmla="*/ 42 h 125"/>
                  <a:gd name="T10" fmla="*/ 33 w 96"/>
                  <a:gd name="T11" fmla="*/ 0 h 125"/>
                  <a:gd name="T12" fmla="*/ 0 w 96"/>
                  <a:gd name="T13" fmla="*/ 39 h 125"/>
                  <a:gd name="T14" fmla="*/ 16 w 96"/>
                  <a:gd name="T15" fmla="*/ 74 h 125"/>
                  <a:gd name="T16" fmla="*/ 9 w 96"/>
                  <a:gd name="T17" fmla="*/ 89 h 125"/>
                  <a:gd name="T18" fmla="*/ 27 w 96"/>
                  <a:gd name="T19" fmla="*/ 104 h 125"/>
                  <a:gd name="T20" fmla="*/ 29 w 96"/>
                  <a:gd name="T21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6" h="125">
                    <a:moveTo>
                      <a:pt x="29" y="125"/>
                    </a:moveTo>
                    <a:cubicBezTo>
                      <a:pt x="96" y="125"/>
                      <a:pt x="96" y="125"/>
                      <a:pt x="96" y="125"/>
                    </a:cubicBezTo>
                    <a:cubicBezTo>
                      <a:pt x="96" y="113"/>
                      <a:pt x="96" y="102"/>
                      <a:pt x="85" y="101"/>
                    </a:cubicBezTo>
                    <a:cubicBezTo>
                      <a:pt x="48" y="95"/>
                      <a:pt x="51" y="79"/>
                      <a:pt x="50" y="75"/>
                    </a:cubicBezTo>
                    <a:cubicBezTo>
                      <a:pt x="61" y="68"/>
                      <a:pt x="66" y="42"/>
                      <a:pt x="66" y="42"/>
                    </a:cubicBezTo>
                    <a:cubicBezTo>
                      <a:pt x="66" y="16"/>
                      <a:pt x="54" y="0"/>
                      <a:pt x="33" y="0"/>
                    </a:cubicBezTo>
                    <a:cubicBezTo>
                      <a:pt x="13" y="0"/>
                      <a:pt x="0" y="14"/>
                      <a:pt x="0" y="39"/>
                    </a:cubicBezTo>
                    <a:cubicBezTo>
                      <a:pt x="0" y="66"/>
                      <a:pt x="16" y="74"/>
                      <a:pt x="16" y="74"/>
                    </a:cubicBezTo>
                    <a:cubicBezTo>
                      <a:pt x="16" y="82"/>
                      <a:pt x="13" y="87"/>
                      <a:pt x="9" y="89"/>
                    </a:cubicBezTo>
                    <a:cubicBezTo>
                      <a:pt x="9" y="89"/>
                      <a:pt x="23" y="92"/>
                      <a:pt x="27" y="104"/>
                    </a:cubicBezTo>
                    <a:cubicBezTo>
                      <a:pt x="30" y="113"/>
                      <a:pt x="29" y="125"/>
                      <a:pt x="29" y="1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1" name="Группа 60"/>
          <p:cNvGrpSpPr/>
          <p:nvPr/>
        </p:nvGrpSpPr>
        <p:grpSpPr>
          <a:xfrm>
            <a:off x="58370" y="3039616"/>
            <a:ext cx="342749" cy="329962"/>
            <a:chOff x="132557" y="2285583"/>
            <a:chExt cx="359605" cy="335305"/>
          </a:xfrm>
        </p:grpSpPr>
        <p:sp>
          <p:nvSpPr>
            <p:cNvPr id="62" name="Овал 61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/>
          </p:nvSpPr>
          <p:spPr>
            <a:xfrm>
              <a:off x="132557" y="2285583"/>
              <a:ext cx="359605" cy="335305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63" name="Freeform 123"/>
            <p:cNvSpPr>
              <a:spLocks noEditPoints="1"/>
            </p:cNvSpPr>
            <p:nvPr/>
          </p:nvSpPr>
          <p:spPr bwMode="auto">
            <a:xfrm>
              <a:off x="180448" y="2330581"/>
              <a:ext cx="251745" cy="223589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45" name="Table 2"/>
          <p:cNvGraphicFramePr>
            <a:graphicFrameLocks noGrp="1"/>
          </p:cNvGraphicFramePr>
          <p:nvPr>
            <p:extLst/>
          </p:nvPr>
        </p:nvGraphicFramePr>
        <p:xfrm>
          <a:off x="3322248" y="4258893"/>
          <a:ext cx="8093052" cy="2394803"/>
        </p:xfrm>
        <a:graphic>
          <a:graphicData uri="http://schemas.openxmlformats.org/drawingml/2006/table">
            <a:tbl>
              <a:tblPr firstRow="1" lastRow="1" bandRow="1">
                <a:tableStyleId>{21E4AEA4-8DFA-4A89-87EB-49C32662AFE0}</a:tableStyleId>
              </a:tblPr>
              <a:tblGrid>
                <a:gridCol w="13313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99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63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9423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66662">
                  <a:extLst>
                    <a:ext uri="{9D8B030D-6E8A-4147-A177-3AD203B41FA5}">
                      <a16:colId xmlns:a16="http://schemas.microsoft.com/office/drawing/2014/main" val="1548543413"/>
                    </a:ext>
                  </a:extLst>
                </a:gridCol>
                <a:gridCol w="1264551">
                  <a:extLst>
                    <a:ext uri="{9D8B030D-6E8A-4147-A177-3AD203B41FA5}">
                      <a16:colId xmlns:a16="http://schemas.microsoft.com/office/drawing/2014/main" val="3446701092"/>
                    </a:ext>
                  </a:extLst>
                </a:gridCol>
              </a:tblGrid>
              <a:tr h="479385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</a:rPr>
                        <a:t>2020</a:t>
                      </a:r>
                    </a:p>
                    <a:p>
                      <a:pPr algn="ctr"/>
                      <a:endParaRPr lang="en-US" sz="1400" dirty="0">
                        <a:solidFill>
                          <a:srgbClr val="2F5597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</a:rPr>
                        <a:t>2021</a:t>
                      </a:r>
                      <a:endParaRPr lang="en-US" sz="1400" dirty="0">
                        <a:solidFill>
                          <a:srgbClr val="2F5597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</a:rPr>
                        <a:t>2022</a:t>
                      </a:r>
                      <a:endParaRPr lang="en-US" sz="1400" dirty="0">
                        <a:solidFill>
                          <a:srgbClr val="2F5597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</a:rPr>
                        <a:t>2023</a:t>
                      </a:r>
                      <a:endParaRPr lang="en-US" sz="1400" dirty="0">
                        <a:solidFill>
                          <a:srgbClr val="2F5597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4</a:t>
                      </a:r>
                      <a:endParaRPr lang="en-US" sz="1400" b="1" kern="1200" dirty="0" smtClean="0">
                        <a:solidFill>
                          <a:srgbClr val="2F5597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5</a:t>
                      </a:r>
                      <a:endParaRPr lang="en-US" sz="1400" b="1" kern="1200" dirty="0" smtClean="0">
                        <a:solidFill>
                          <a:srgbClr val="2F5597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5255"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b="1" kern="1200" dirty="0">
                        <a:solidFill>
                          <a:srgbClr val="2F5597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b="1" kern="1200" dirty="0">
                        <a:solidFill>
                          <a:srgbClr val="2F5597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0407"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10981"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 smtClean="0">
                        <a:solidFill>
                          <a:srgbClr val="2F5597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 smtClean="0">
                        <a:solidFill>
                          <a:srgbClr val="2F5597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46" name="Прямоугольник 45"/>
          <p:cNvSpPr/>
          <p:nvPr/>
        </p:nvSpPr>
        <p:spPr>
          <a:xfrm>
            <a:off x="3358851" y="4771777"/>
            <a:ext cx="12828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b="1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Анализ критичности, оценка </a:t>
            </a:r>
            <a:r>
              <a:rPr lang="ru-RU" sz="800" b="1" dirty="0">
                <a:solidFill>
                  <a:srgbClr val="2F5597"/>
                </a:solidFill>
                <a:latin typeface="Century Gothic" panose="020B0502020202020204" pitchFamily="34" charset="0"/>
              </a:rPr>
              <a:t>финансовых </a:t>
            </a:r>
            <a:r>
              <a:rPr lang="ru-RU" sz="800" b="1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рисков</a:t>
            </a:r>
            <a:endParaRPr lang="ru-RU" sz="700" dirty="0">
              <a:solidFill>
                <a:srgbClr val="2F5597"/>
              </a:solidFill>
              <a:latin typeface="Century Gothic" panose="020B0502020202020204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5251423" y="4771777"/>
            <a:ext cx="797433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b="1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Договор на проект</a:t>
            </a:r>
            <a:endParaRPr lang="ru-RU" sz="800" b="1" dirty="0">
              <a:solidFill>
                <a:srgbClr val="2F5597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ru-RU" sz="700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08.10.2021</a:t>
            </a:r>
            <a:endParaRPr lang="ru-RU" sz="800" dirty="0">
              <a:solidFill>
                <a:srgbClr val="2F5597"/>
              </a:solidFill>
              <a:latin typeface="Century Gothic" panose="020B0502020202020204" pitchFamily="34" charset="0"/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4553867" y="4778688"/>
            <a:ext cx="817155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b="1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Одобрение ИК </a:t>
            </a:r>
            <a:r>
              <a:rPr lang="ru-RU" sz="800" b="1" dirty="0">
                <a:solidFill>
                  <a:srgbClr val="2F5597"/>
                </a:solidFill>
                <a:latin typeface="Century Gothic" panose="020B0502020202020204" pitchFamily="34" charset="0"/>
              </a:rPr>
              <a:t>КМГ</a:t>
            </a:r>
          </a:p>
          <a:p>
            <a:pPr algn="ctr"/>
            <a:r>
              <a:rPr lang="ru-RU" sz="700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21.07.2021</a:t>
            </a:r>
            <a:endParaRPr lang="ru-RU" sz="800" dirty="0">
              <a:solidFill>
                <a:srgbClr val="2F5597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106" name="Прямая соединительная линия 105"/>
          <p:cNvCxnSpPr/>
          <p:nvPr/>
        </p:nvCxnSpPr>
        <p:spPr>
          <a:xfrm>
            <a:off x="5195065" y="5188519"/>
            <a:ext cx="983" cy="425474"/>
          </a:xfrm>
          <a:prstGeom prst="line">
            <a:avLst/>
          </a:prstGeom>
          <a:ln w="12700">
            <a:solidFill>
              <a:srgbClr val="2F55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Прямоугольник 119"/>
          <p:cNvSpPr/>
          <p:nvPr/>
        </p:nvSpPr>
        <p:spPr>
          <a:xfrm>
            <a:off x="6258431" y="4771777"/>
            <a:ext cx="912908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b="1" dirty="0">
                <a:solidFill>
                  <a:srgbClr val="2F5597"/>
                </a:solidFill>
                <a:latin typeface="Century Gothic" panose="020B0502020202020204" pitchFamily="34" charset="0"/>
              </a:rPr>
              <a:t>Разработка</a:t>
            </a:r>
          </a:p>
          <a:p>
            <a:pPr algn="ctr"/>
            <a:r>
              <a:rPr lang="ru-RU" sz="800" b="1" dirty="0">
                <a:solidFill>
                  <a:srgbClr val="2F5597"/>
                </a:solidFill>
                <a:latin typeface="Century Gothic" panose="020B0502020202020204" pitchFamily="34" charset="0"/>
              </a:rPr>
              <a:t>РП – </a:t>
            </a:r>
            <a:r>
              <a:rPr lang="ru-RU" sz="800" b="1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100%</a:t>
            </a:r>
            <a:endParaRPr lang="ru-RU" sz="800" b="1" dirty="0">
              <a:solidFill>
                <a:srgbClr val="2F5597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ru-RU" sz="700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декабрь </a:t>
            </a:r>
            <a:r>
              <a:rPr lang="ru-RU" sz="700" dirty="0">
                <a:solidFill>
                  <a:srgbClr val="2F5597"/>
                </a:solidFill>
                <a:latin typeface="Century Gothic" panose="020B0502020202020204" pitchFamily="34" charset="0"/>
              </a:rPr>
              <a:t>2022</a:t>
            </a:r>
          </a:p>
        </p:txBody>
      </p:sp>
      <p:sp>
        <p:nvSpPr>
          <p:cNvPr id="121" name="Правая фигурная скобка 120"/>
          <p:cNvSpPr/>
          <p:nvPr/>
        </p:nvSpPr>
        <p:spPr>
          <a:xfrm rot="5400000" flipH="1">
            <a:off x="6200138" y="4447687"/>
            <a:ext cx="303889" cy="1785553"/>
          </a:xfrm>
          <a:prstGeom prst="rightBrace">
            <a:avLst>
              <a:gd name="adj1" fmla="val 56111"/>
              <a:gd name="adj2" fmla="val 50086"/>
            </a:avLst>
          </a:prstGeom>
          <a:ln w="12700">
            <a:solidFill>
              <a:srgbClr val="2F559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6" name="Правая фигурная скобка 135"/>
          <p:cNvSpPr/>
          <p:nvPr/>
        </p:nvSpPr>
        <p:spPr>
          <a:xfrm rot="5400000" flipH="1">
            <a:off x="9481597" y="3574632"/>
            <a:ext cx="296730" cy="3505810"/>
          </a:xfrm>
          <a:prstGeom prst="rightBrace">
            <a:avLst>
              <a:gd name="adj1" fmla="val 56111"/>
              <a:gd name="adj2" fmla="val 49888"/>
            </a:avLst>
          </a:prstGeom>
          <a:ln w="12700">
            <a:solidFill>
              <a:srgbClr val="2F559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7" name="Прямоугольник 136"/>
          <p:cNvSpPr/>
          <p:nvPr/>
        </p:nvSpPr>
        <p:spPr>
          <a:xfrm>
            <a:off x="8891937" y="4804011"/>
            <a:ext cx="142406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b="1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Реализация проекта</a:t>
            </a:r>
            <a:endParaRPr lang="ru-RU" sz="800" b="1" dirty="0">
              <a:solidFill>
                <a:srgbClr val="2F5597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ru-RU" sz="700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31.12.2025</a:t>
            </a:r>
            <a:endParaRPr lang="ru-RU" sz="700" dirty="0">
              <a:solidFill>
                <a:srgbClr val="2F5597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144" name="Прямая соединительная линия 143"/>
          <p:cNvCxnSpPr/>
          <p:nvPr/>
        </p:nvCxnSpPr>
        <p:spPr>
          <a:xfrm flipH="1">
            <a:off x="5444098" y="5177278"/>
            <a:ext cx="2305" cy="440602"/>
          </a:xfrm>
          <a:prstGeom prst="line">
            <a:avLst/>
          </a:prstGeom>
          <a:ln w="12700">
            <a:solidFill>
              <a:srgbClr val="2F55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ight Arrow 15"/>
          <p:cNvSpPr/>
          <p:nvPr/>
        </p:nvSpPr>
        <p:spPr>
          <a:xfrm>
            <a:off x="3322248" y="5363509"/>
            <a:ext cx="7676636" cy="841829"/>
          </a:xfrm>
          <a:prstGeom prst="rightArrow">
            <a:avLst>
              <a:gd name="adj1" fmla="val 50000"/>
              <a:gd name="adj2" fmla="val 47414"/>
            </a:avLst>
          </a:prstGeom>
          <a:solidFill>
            <a:srgbClr val="1298C7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9258" y="6524679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9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7368774" y="4771777"/>
            <a:ext cx="881663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b="1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Договор</a:t>
            </a:r>
          </a:p>
          <a:p>
            <a:pPr algn="ctr"/>
            <a:r>
              <a:rPr lang="ru-RU" sz="800" b="1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на СМР </a:t>
            </a:r>
            <a:r>
              <a:rPr lang="ru-RU" sz="700" dirty="0" smtClean="0">
                <a:solidFill>
                  <a:srgbClr val="2F5597"/>
                </a:solidFill>
                <a:latin typeface="Century Gothic" panose="020B0502020202020204" pitchFamily="34" charset="0"/>
              </a:rPr>
              <a:t>06.06.23</a:t>
            </a:r>
            <a:endParaRPr lang="ru-RU" sz="700" dirty="0">
              <a:solidFill>
                <a:srgbClr val="2F5597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80" name="Прямая соединительная линия 79"/>
          <p:cNvCxnSpPr/>
          <p:nvPr/>
        </p:nvCxnSpPr>
        <p:spPr>
          <a:xfrm>
            <a:off x="7877057" y="5177648"/>
            <a:ext cx="0" cy="413766"/>
          </a:xfrm>
          <a:prstGeom prst="line">
            <a:avLst/>
          </a:prstGeom>
          <a:ln w="12700">
            <a:solidFill>
              <a:srgbClr val="2F55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5" name="Группа 84"/>
          <p:cNvGrpSpPr/>
          <p:nvPr/>
        </p:nvGrpSpPr>
        <p:grpSpPr>
          <a:xfrm>
            <a:off x="77656" y="2698158"/>
            <a:ext cx="320197" cy="275376"/>
            <a:chOff x="144952" y="2751503"/>
            <a:chExt cx="320197" cy="275376"/>
          </a:xfrm>
        </p:grpSpPr>
        <p:sp>
          <p:nvSpPr>
            <p:cNvPr id="86" name="Овал 85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/>
          </p:nvSpPr>
          <p:spPr>
            <a:xfrm>
              <a:off x="144952" y="2751503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grpSp>
          <p:nvGrpSpPr>
            <p:cNvPr id="87" name="Группа 86"/>
            <p:cNvGrpSpPr/>
            <p:nvPr/>
          </p:nvGrpSpPr>
          <p:grpSpPr>
            <a:xfrm>
              <a:off x="186863" y="2784728"/>
              <a:ext cx="233268" cy="168052"/>
              <a:chOff x="106498" y="1660238"/>
              <a:chExt cx="184763" cy="153786"/>
            </a:xfrm>
          </p:grpSpPr>
          <p:sp>
            <p:nvSpPr>
              <p:cNvPr id="88" name="Freeform 12"/>
              <p:cNvSpPr>
                <a:spLocks/>
              </p:cNvSpPr>
              <p:nvPr/>
            </p:nvSpPr>
            <p:spPr bwMode="auto">
              <a:xfrm>
                <a:off x="106498" y="1660238"/>
                <a:ext cx="124635" cy="153786"/>
              </a:xfrm>
              <a:custGeom>
                <a:avLst/>
                <a:gdLst>
                  <a:gd name="T0" fmla="*/ 8 w 150"/>
                  <a:gd name="T1" fmla="*/ 145 h 145"/>
                  <a:gd name="T2" fmla="*/ 19 w 150"/>
                  <a:gd name="T3" fmla="*/ 119 h 145"/>
                  <a:gd name="T4" fmla="*/ 57 w 150"/>
                  <a:gd name="T5" fmla="*/ 86 h 145"/>
                  <a:gd name="T6" fmla="*/ 38 w 150"/>
                  <a:gd name="T7" fmla="*/ 46 h 145"/>
                  <a:gd name="T8" fmla="*/ 77 w 150"/>
                  <a:gd name="T9" fmla="*/ 0 h 145"/>
                  <a:gd name="T10" fmla="*/ 114 w 150"/>
                  <a:gd name="T11" fmla="*/ 50 h 145"/>
                  <a:gd name="T12" fmla="*/ 96 w 150"/>
                  <a:gd name="T13" fmla="*/ 87 h 145"/>
                  <a:gd name="T14" fmla="*/ 136 w 150"/>
                  <a:gd name="T15" fmla="*/ 117 h 145"/>
                  <a:gd name="T16" fmla="*/ 150 w 150"/>
                  <a:gd name="T17" fmla="*/ 145 h 145"/>
                  <a:gd name="T18" fmla="*/ 8 w 150"/>
                  <a:gd name="T19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0" h="145">
                    <a:moveTo>
                      <a:pt x="8" y="145"/>
                    </a:moveTo>
                    <a:cubicBezTo>
                      <a:pt x="8" y="145"/>
                      <a:pt x="0" y="125"/>
                      <a:pt x="19" y="119"/>
                    </a:cubicBezTo>
                    <a:cubicBezTo>
                      <a:pt x="38" y="113"/>
                      <a:pt x="57" y="107"/>
                      <a:pt x="57" y="86"/>
                    </a:cubicBezTo>
                    <a:cubicBezTo>
                      <a:pt x="57" y="86"/>
                      <a:pt x="38" y="78"/>
                      <a:pt x="38" y="46"/>
                    </a:cubicBezTo>
                    <a:cubicBezTo>
                      <a:pt x="38" y="17"/>
                      <a:pt x="53" y="0"/>
                      <a:pt x="77" y="0"/>
                    </a:cubicBezTo>
                    <a:cubicBezTo>
                      <a:pt x="100" y="0"/>
                      <a:pt x="114" y="19"/>
                      <a:pt x="114" y="50"/>
                    </a:cubicBezTo>
                    <a:cubicBezTo>
                      <a:pt x="114" y="50"/>
                      <a:pt x="109" y="80"/>
                      <a:pt x="96" y="87"/>
                    </a:cubicBezTo>
                    <a:cubicBezTo>
                      <a:pt x="96" y="92"/>
                      <a:pt x="93" y="111"/>
                      <a:pt x="136" y="117"/>
                    </a:cubicBezTo>
                    <a:cubicBezTo>
                      <a:pt x="149" y="119"/>
                      <a:pt x="150" y="132"/>
                      <a:pt x="150" y="145"/>
                    </a:cubicBezTo>
                    <a:lnTo>
                      <a:pt x="8" y="14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13"/>
              <p:cNvSpPr>
                <a:spLocks/>
              </p:cNvSpPr>
              <p:nvPr/>
            </p:nvSpPr>
            <p:spPr bwMode="auto">
              <a:xfrm>
                <a:off x="210764" y="1689384"/>
                <a:ext cx="80497" cy="124640"/>
              </a:xfrm>
              <a:custGeom>
                <a:avLst/>
                <a:gdLst>
                  <a:gd name="T0" fmla="*/ 29 w 96"/>
                  <a:gd name="T1" fmla="*/ 125 h 125"/>
                  <a:gd name="T2" fmla="*/ 96 w 96"/>
                  <a:gd name="T3" fmla="*/ 125 h 125"/>
                  <a:gd name="T4" fmla="*/ 85 w 96"/>
                  <a:gd name="T5" fmla="*/ 101 h 125"/>
                  <a:gd name="T6" fmla="*/ 50 w 96"/>
                  <a:gd name="T7" fmla="*/ 75 h 125"/>
                  <a:gd name="T8" fmla="*/ 66 w 96"/>
                  <a:gd name="T9" fmla="*/ 42 h 125"/>
                  <a:gd name="T10" fmla="*/ 33 w 96"/>
                  <a:gd name="T11" fmla="*/ 0 h 125"/>
                  <a:gd name="T12" fmla="*/ 0 w 96"/>
                  <a:gd name="T13" fmla="*/ 39 h 125"/>
                  <a:gd name="T14" fmla="*/ 16 w 96"/>
                  <a:gd name="T15" fmla="*/ 74 h 125"/>
                  <a:gd name="T16" fmla="*/ 9 w 96"/>
                  <a:gd name="T17" fmla="*/ 89 h 125"/>
                  <a:gd name="T18" fmla="*/ 27 w 96"/>
                  <a:gd name="T19" fmla="*/ 104 h 125"/>
                  <a:gd name="T20" fmla="*/ 29 w 96"/>
                  <a:gd name="T21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6" h="125">
                    <a:moveTo>
                      <a:pt x="29" y="125"/>
                    </a:moveTo>
                    <a:cubicBezTo>
                      <a:pt x="96" y="125"/>
                      <a:pt x="96" y="125"/>
                      <a:pt x="96" y="125"/>
                    </a:cubicBezTo>
                    <a:cubicBezTo>
                      <a:pt x="96" y="113"/>
                      <a:pt x="96" y="102"/>
                      <a:pt x="85" y="101"/>
                    </a:cubicBezTo>
                    <a:cubicBezTo>
                      <a:pt x="48" y="95"/>
                      <a:pt x="51" y="79"/>
                      <a:pt x="50" y="75"/>
                    </a:cubicBezTo>
                    <a:cubicBezTo>
                      <a:pt x="61" y="68"/>
                      <a:pt x="66" y="42"/>
                      <a:pt x="66" y="42"/>
                    </a:cubicBezTo>
                    <a:cubicBezTo>
                      <a:pt x="66" y="16"/>
                      <a:pt x="54" y="0"/>
                      <a:pt x="33" y="0"/>
                    </a:cubicBezTo>
                    <a:cubicBezTo>
                      <a:pt x="13" y="0"/>
                      <a:pt x="0" y="14"/>
                      <a:pt x="0" y="39"/>
                    </a:cubicBezTo>
                    <a:cubicBezTo>
                      <a:pt x="0" y="66"/>
                      <a:pt x="16" y="74"/>
                      <a:pt x="16" y="74"/>
                    </a:cubicBezTo>
                    <a:cubicBezTo>
                      <a:pt x="16" y="82"/>
                      <a:pt x="13" y="87"/>
                      <a:pt x="9" y="89"/>
                    </a:cubicBezTo>
                    <a:cubicBezTo>
                      <a:pt x="9" y="89"/>
                      <a:pt x="23" y="92"/>
                      <a:pt x="27" y="104"/>
                    </a:cubicBezTo>
                    <a:cubicBezTo>
                      <a:pt x="30" y="113"/>
                      <a:pt x="29" y="125"/>
                      <a:pt x="29" y="1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93" name="Группа 92"/>
          <p:cNvGrpSpPr/>
          <p:nvPr/>
        </p:nvGrpSpPr>
        <p:grpSpPr>
          <a:xfrm>
            <a:off x="94370" y="1997051"/>
            <a:ext cx="320197" cy="275376"/>
            <a:chOff x="139227" y="1865668"/>
            <a:chExt cx="320197" cy="275376"/>
          </a:xfrm>
        </p:grpSpPr>
        <p:sp>
          <p:nvSpPr>
            <p:cNvPr id="94" name="Овал 93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/>
          </p:nvSpPr>
          <p:spPr>
            <a:xfrm>
              <a:off x="139227" y="1865668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95" name="Freeform 123"/>
            <p:cNvSpPr>
              <a:spLocks noEditPoints="1"/>
            </p:cNvSpPr>
            <p:nvPr/>
          </p:nvSpPr>
          <p:spPr bwMode="auto">
            <a:xfrm>
              <a:off x="171777" y="1907951"/>
              <a:ext cx="224157" cy="182295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Прямоугольник 11"/>
          <p:cNvSpPr/>
          <p:nvPr/>
        </p:nvSpPr>
        <p:spPr>
          <a:xfrm>
            <a:off x="3322248" y="5574613"/>
            <a:ext cx="5504943" cy="41224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5" name="Прямоугольник 74"/>
          <p:cNvSpPr/>
          <p:nvPr/>
        </p:nvSpPr>
        <p:spPr>
          <a:xfrm>
            <a:off x="4357535" y="5627815"/>
            <a:ext cx="14771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ализовано</a:t>
            </a:r>
            <a:endParaRPr lang="ru-RU" sz="14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9495637" y="5618250"/>
            <a:ext cx="83190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лан</a:t>
            </a:r>
            <a:endParaRPr lang="ru-RU" sz="1400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6994970" y="6366915"/>
            <a:ext cx="1753682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татус проекта</a:t>
            </a:r>
          </a:p>
        </p:txBody>
      </p:sp>
      <p:sp>
        <p:nvSpPr>
          <p:cNvPr id="20" name="5-конечная звезда 19"/>
          <p:cNvSpPr/>
          <p:nvPr/>
        </p:nvSpPr>
        <p:spPr>
          <a:xfrm>
            <a:off x="8748652" y="6305092"/>
            <a:ext cx="384235" cy="358087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6" name="Picture 2" descr="Компьютерные иконки инкапсулированные PostScript, финишная черта, Разное,  флаг png | PNGEg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44" r="27660"/>
          <a:stretch/>
        </p:blipFill>
        <p:spPr bwMode="auto">
          <a:xfrm>
            <a:off x="10998884" y="5527898"/>
            <a:ext cx="398282" cy="503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4" descr="L'homme Va à Une Réunion D'affaires, Pense à L'argent Et Profite Fond Blanc  Silhouette Clips Vidéos - Vidéo du tony, entreprise: 102729219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852" r="33200"/>
          <a:stretch/>
        </p:blipFill>
        <p:spPr bwMode="auto">
          <a:xfrm>
            <a:off x="8767289" y="5584096"/>
            <a:ext cx="249297" cy="39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49" t="4724" r="15506" b="4408"/>
          <a:stretch/>
        </p:blipFill>
        <p:spPr>
          <a:xfrm>
            <a:off x="4553867" y="857460"/>
            <a:ext cx="3964901" cy="3271366"/>
          </a:xfrm>
          <a:prstGeom prst="rect">
            <a:avLst/>
          </a:prstGeom>
        </p:spPr>
      </p:pic>
      <p:sp>
        <p:nvSpPr>
          <p:cNvPr id="64" name="Прямоугольник 63"/>
          <p:cNvSpPr/>
          <p:nvPr/>
        </p:nvSpPr>
        <p:spPr>
          <a:xfrm>
            <a:off x="397853" y="3834302"/>
            <a:ext cx="2697981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ТАТУС ПРОЕКТА:</a:t>
            </a:r>
            <a:endParaRPr lang="ru-RU" sz="14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Ø"/>
              <a:defRPr/>
            </a:pP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зработка проекта производства работ</a:t>
            </a:r>
          </a:p>
          <a:p>
            <a:pPr marL="171450" lvl="0" indent="-171450">
              <a:buFont typeface="Wingdings" panose="05000000000000000000" pitchFamily="2" charset="2"/>
              <a:buChar char="Ø"/>
              <a:defRPr/>
            </a:pP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зработка детального графика СМР – демонтаж старых фундаментов</a:t>
            </a:r>
          </a:p>
          <a:p>
            <a:pPr marL="171450" lvl="0" indent="-171450">
              <a:buFont typeface="Wingdings" panose="05000000000000000000" pitchFamily="2" charset="2"/>
              <a:buChar char="Ø"/>
              <a:defRPr/>
            </a:pP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дготовка перечня подготовительных работ (энергетика, КИП) до капитального ремонта завода</a:t>
            </a:r>
          </a:p>
          <a:p>
            <a:pPr marL="171450" lvl="0" indent="-171450">
              <a:buFont typeface="Wingdings" panose="05000000000000000000" pitchFamily="2" charset="2"/>
              <a:buChar char="Ø"/>
              <a:defRPr/>
            </a:pP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дготовка к необходимым врезкам в трубопроводы в период капитального ремонта завода</a:t>
            </a:r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5-конечная звезда 81"/>
          <p:cNvSpPr/>
          <p:nvPr/>
        </p:nvSpPr>
        <p:spPr>
          <a:xfrm>
            <a:off x="2632689" y="3900806"/>
            <a:ext cx="384235" cy="358087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80A0CD63-1EF0-49FE-B83E-8B0213AA8B19}"/>
              </a:ext>
            </a:extLst>
          </p:cNvPr>
          <p:cNvSpPr/>
          <p:nvPr/>
        </p:nvSpPr>
        <p:spPr>
          <a:xfrm>
            <a:off x="8458115" y="1012782"/>
            <a:ext cx="3632204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0000"/>
              </a:lnSpc>
            </a:pPr>
            <a:r>
              <a:rPr lang="en-US" sz="1300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17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.01.2024 Техническое совещание 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с ТОО «</a:t>
            </a:r>
            <a:r>
              <a:rPr lang="en-US" sz="1300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AVC Production</a:t>
            </a:r>
            <a:r>
              <a:rPr lang="en-US" sz="1300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»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, ТОО «ИНЖЕНЕРНАЯ ФИРМА MG ENGINEERING», ТОО «</a:t>
            </a:r>
            <a:r>
              <a:rPr lang="en-US" sz="1300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Q-Inspection</a:t>
            </a:r>
            <a:r>
              <a:rPr lang="en-US" sz="1300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»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 по вопросам:</a:t>
            </a:r>
          </a:p>
          <a:p>
            <a:pPr marL="342900" indent="-342900" algn="just">
              <a:lnSpc>
                <a:spcPct val="100000"/>
              </a:lnSpc>
              <a:buAutoNum type="arabicPeriod"/>
            </a:pP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Проект производства работ</a:t>
            </a:r>
          </a:p>
          <a:p>
            <a:pPr marL="342900" indent="-342900" algn="just">
              <a:lnSpc>
                <a:spcPct val="100000"/>
              </a:lnSpc>
              <a:buAutoNum type="arabicPeriod"/>
            </a:pP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График СМР</a:t>
            </a:r>
          </a:p>
          <a:p>
            <a:pPr marL="342900" indent="-342900" algn="just">
              <a:lnSpc>
                <a:spcPct val="100000"/>
              </a:lnSpc>
              <a:buAutoNum type="arabicPeriod"/>
            </a:pP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Подготовительные работы до остановочного периода 2024г.</a:t>
            </a:r>
          </a:p>
          <a:p>
            <a:pPr marL="342900" indent="-342900" algn="just">
              <a:lnSpc>
                <a:spcPct val="100000"/>
              </a:lnSpc>
              <a:buAutoNum type="arabicPeriod"/>
            </a:pP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Расположение персонала подрядчика на площадке</a:t>
            </a:r>
          </a:p>
          <a:p>
            <a:pPr marL="342900" indent="-342900" algn="just">
              <a:lnSpc>
                <a:spcPct val="100000"/>
              </a:lnSpc>
              <a:buAutoNum type="arabicPeriod"/>
            </a:pP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Проведение врезок в трубопроводы в остановочный период 2024г.</a:t>
            </a:r>
          </a:p>
          <a:p>
            <a:pPr marL="342900" indent="-342900" algn="just">
              <a:lnSpc>
                <a:spcPct val="100000"/>
              </a:lnSpc>
              <a:buAutoNum type="arabicPeriod"/>
            </a:pP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Производственная безопасность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80A0CD63-1EF0-49FE-B83E-8B0213AA8B19}"/>
              </a:ext>
            </a:extLst>
          </p:cNvPr>
          <p:cNvSpPr/>
          <p:nvPr/>
        </p:nvSpPr>
        <p:spPr>
          <a:xfrm>
            <a:off x="3755259" y="33090"/>
            <a:ext cx="83350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100000"/>
              </a:lnSpc>
            </a:pPr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РЕАЛИЗАЦИЯ ПРОЕКТА УСТАНОВКИ КОМПРЕССОРОВ ЖИРНОГО ГАЗА</a:t>
            </a:r>
          </a:p>
          <a:p>
            <a:pPr algn="r">
              <a:lnSpc>
                <a:spcPct val="100000"/>
              </a:lnSpc>
            </a:pPr>
            <a:r>
              <a:rPr lang="en-US" b="1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HITACHI</a:t>
            </a:r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(ЯПОНИЯ</a:t>
            </a:r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)</a:t>
            </a:r>
            <a:endParaRPr lang="ru-RU" b="1" dirty="0">
              <a:solidFill>
                <a:schemeClr val="bg1"/>
              </a:solidFill>
              <a:latin typeface="Century Gothic" panose="020B0502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208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013525" y="153876"/>
            <a:ext cx="61722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ОЛНЕНИЕ КОРПОРАТИВНЫХ КПД ЗА 2023 ГОД</a:t>
            </a:r>
            <a:endParaRPr lang="ru-RU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3507936"/>
              </p:ext>
            </p:extLst>
          </p:nvPr>
        </p:nvGraphicFramePr>
        <p:xfrm>
          <a:off x="496229" y="1016686"/>
          <a:ext cx="11034591" cy="5311958"/>
        </p:xfrm>
        <a:graphic>
          <a:graphicData uri="http://schemas.openxmlformats.org/drawingml/2006/table">
            <a:tbl>
              <a:tblPr/>
              <a:tblGrid>
                <a:gridCol w="406506">
                  <a:extLst>
                    <a:ext uri="{9D8B030D-6E8A-4147-A177-3AD203B41FA5}">
                      <a16:colId xmlns:a16="http://schemas.microsoft.com/office/drawing/2014/main" val="1516551841"/>
                    </a:ext>
                  </a:extLst>
                </a:gridCol>
                <a:gridCol w="3100449">
                  <a:extLst>
                    <a:ext uri="{9D8B030D-6E8A-4147-A177-3AD203B41FA5}">
                      <a16:colId xmlns:a16="http://schemas.microsoft.com/office/drawing/2014/main" val="3316874470"/>
                    </a:ext>
                  </a:extLst>
                </a:gridCol>
                <a:gridCol w="517236">
                  <a:extLst>
                    <a:ext uri="{9D8B030D-6E8A-4147-A177-3AD203B41FA5}">
                      <a16:colId xmlns:a16="http://schemas.microsoft.com/office/drawing/2014/main" val="1081917483"/>
                    </a:ext>
                  </a:extLst>
                </a:gridCol>
                <a:gridCol w="775855">
                  <a:extLst>
                    <a:ext uri="{9D8B030D-6E8A-4147-A177-3AD203B41FA5}">
                      <a16:colId xmlns:a16="http://schemas.microsoft.com/office/drawing/2014/main" val="1225868207"/>
                    </a:ext>
                  </a:extLst>
                </a:gridCol>
                <a:gridCol w="988291">
                  <a:extLst>
                    <a:ext uri="{9D8B030D-6E8A-4147-A177-3AD203B41FA5}">
                      <a16:colId xmlns:a16="http://schemas.microsoft.com/office/drawing/2014/main" val="3443301712"/>
                    </a:ext>
                  </a:extLst>
                </a:gridCol>
                <a:gridCol w="1163781">
                  <a:extLst>
                    <a:ext uri="{9D8B030D-6E8A-4147-A177-3AD203B41FA5}">
                      <a16:colId xmlns:a16="http://schemas.microsoft.com/office/drawing/2014/main" val="4140516171"/>
                    </a:ext>
                  </a:extLst>
                </a:gridCol>
                <a:gridCol w="877455">
                  <a:extLst>
                    <a:ext uri="{9D8B030D-6E8A-4147-A177-3AD203B41FA5}">
                      <a16:colId xmlns:a16="http://schemas.microsoft.com/office/drawing/2014/main" val="1747712588"/>
                    </a:ext>
                  </a:extLst>
                </a:gridCol>
                <a:gridCol w="979055">
                  <a:extLst>
                    <a:ext uri="{9D8B030D-6E8A-4147-A177-3AD203B41FA5}">
                      <a16:colId xmlns:a16="http://schemas.microsoft.com/office/drawing/2014/main" val="544203164"/>
                    </a:ext>
                  </a:extLst>
                </a:gridCol>
                <a:gridCol w="905163">
                  <a:extLst>
                    <a:ext uri="{9D8B030D-6E8A-4147-A177-3AD203B41FA5}">
                      <a16:colId xmlns:a16="http://schemas.microsoft.com/office/drawing/2014/main" val="332253081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1339467076"/>
                    </a:ext>
                  </a:extLst>
                </a:gridCol>
              </a:tblGrid>
              <a:tr h="821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Наименование КПД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Ед. изм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Ве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Порог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Цель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Вызов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Факт</a:t>
                      </a:r>
                      <a:r>
                        <a:rPr lang="ru-RU" sz="14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 2023г.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Оценка (баллы)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Вклад в суммарную результативность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8166640"/>
                  </a:ext>
                </a:extLst>
              </a:tr>
              <a:tr h="67182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Исполнение производственной программы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3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9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4,69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25,00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43,75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8119730"/>
                  </a:ext>
                </a:extLst>
              </a:tr>
              <a:tr h="81241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Реализация инвестиционных проектов и проектов развития</a:t>
                      </a:r>
                      <a:r>
                        <a:rPr lang="ru-RU" sz="14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ТОО «ПНХЗ»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85</a:t>
                      </a:r>
                    </a:p>
                  </a:txBody>
                  <a:tcPr marL="6366" marR="6366" marT="6366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6366" marR="6366" marT="6366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10</a:t>
                      </a:r>
                    </a:p>
                  </a:txBody>
                  <a:tcPr marL="6366" marR="6366" marT="6366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86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66" marR="6366" marT="6366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3,33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66" marR="6366" marT="6366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3,33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66" marR="6366" marT="6366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276839"/>
                  </a:ext>
                </a:extLst>
              </a:tr>
              <a:tr h="74843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Обеспечение надежности функционирования оборудования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89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90,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92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91,59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9,31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6,40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9792979"/>
                  </a:ext>
                </a:extLst>
              </a:tr>
              <a:tr h="69173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омплексный показатель по производственной безопасности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17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25,00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2,50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5200330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Размер углеродного следа</a:t>
                      </a:r>
                      <a:endParaRPr lang="en-US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он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 964 8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 945 4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 925 9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 755 498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25,00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2,50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2480540"/>
                  </a:ext>
                </a:extLst>
              </a:tr>
              <a:tr h="74843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Местное содержание в закупках товаров, работ и услуг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59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9,38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5,47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115057"/>
                  </a:ext>
                </a:extLst>
              </a:tr>
              <a:tr h="3536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ВСЕГО</a:t>
                      </a:r>
                      <a:endParaRPr lang="ru-RU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3,95</a:t>
                      </a:r>
                      <a:endParaRPr lang="ru-RU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49523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682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extBox 70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31103" y="6527906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8860647" y="5720538"/>
            <a:ext cx="83190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лан</a:t>
            </a:r>
            <a:endParaRPr lang="ru-RU" sz="1400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Группа 17"/>
          <p:cNvGrpSpPr/>
          <p:nvPr/>
        </p:nvGrpSpPr>
        <p:grpSpPr>
          <a:xfrm>
            <a:off x="72831" y="912846"/>
            <a:ext cx="6735385" cy="5262849"/>
            <a:chOff x="0" y="-11714"/>
            <a:chExt cx="9054748" cy="5792466"/>
          </a:xfrm>
        </p:grpSpPr>
        <p:graphicFrame>
          <p:nvGraphicFramePr>
            <p:cNvPr id="23" name="Диаграмма 22"/>
            <p:cNvGraphicFramePr/>
            <p:nvPr>
              <p:extLst/>
            </p:nvPr>
          </p:nvGraphicFramePr>
          <p:xfrm>
            <a:off x="0" y="19051"/>
            <a:ext cx="4808402" cy="273367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24" name="Диаграмма 23"/>
            <p:cNvGraphicFramePr/>
            <p:nvPr>
              <p:extLst/>
            </p:nvPr>
          </p:nvGraphicFramePr>
          <p:xfrm>
            <a:off x="0" y="2508957"/>
            <a:ext cx="4808401" cy="318976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25" name="Диаграмма 24"/>
            <p:cNvGraphicFramePr/>
            <p:nvPr>
              <p:extLst/>
            </p:nvPr>
          </p:nvGraphicFramePr>
          <p:xfrm>
            <a:off x="4388575" y="-11714"/>
            <a:ext cx="4572001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26" name="Диаграмма 25"/>
            <p:cNvGraphicFramePr/>
            <p:nvPr>
              <p:extLst>
                <p:ext uri="{D42A27DB-BD31-4B8C-83A1-F6EECF244321}">
                  <p14:modId xmlns:p14="http://schemas.microsoft.com/office/powerpoint/2010/main" val="1206387287"/>
                </p:ext>
              </p:extLst>
            </p:nvPr>
          </p:nvGraphicFramePr>
          <p:xfrm>
            <a:off x="4406548" y="2675601"/>
            <a:ext cx="4648200" cy="31051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27" name="Arrow: Striped Right 64">
              <a:extLst>
                <a:ext uri="{FF2B5EF4-FFF2-40B4-BE49-F238E27FC236}">
                  <a16:creationId xmlns:a16="http://schemas.microsoft.com/office/drawing/2014/main" id="{EEA31065-7707-80C5-95AC-CFDBE6368EF1}"/>
                </a:ext>
              </a:extLst>
            </p:cNvPr>
            <p:cNvSpPr/>
            <p:nvPr/>
          </p:nvSpPr>
          <p:spPr>
            <a:xfrm>
              <a:off x="4262589" y="1138591"/>
              <a:ext cx="576446" cy="442591"/>
            </a:xfrm>
            <a:prstGeom prst="stripedRightArrow">
              <a:avLst/>
            </a:prstGeom>
            <a:solidFill>
              <a:schemeClr val="bg1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en-CA" sz="1100"/>
            </a:p>
          </p:txBody>
        </p:sp>
        <p:sp>
          <p:nvSpPr>
            <p:cNvPr id="28" name="Arrow: Striped Right 64">
              <a:extLst>
                <a:ext uri="{FF2B5EF4-FFF2-40B4-BE49-F238E27FC236}">
                  <a16:creationId xmlns:a16="http://schemas.microsoft.com/office/drawing/2014/main" id="{EEA31065-7707-80C5-95AC-CFDBE6368EF1}"/>
                </a:ext>
              </a:extLst>
            </p:cNvPr>
            <p:cNvSpPr/>
            <p:nvPr/>
          </p:nvSpPr>
          <p:spPr>
            <a:xfrm>
              <a:off x="4406548" y="3681735"/>
              <a:ext cx="576446" cy="442591"/>
            </a:xfrm>
            <a:prstGeom prst="stripedRightArrow">
              <a:avLst/>
            </a:prstGeom>
            <a:solidFill>
              <a:schemeClr val="bg1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en-CA" sz="1100"/>
            </a:p>
          </p:txBody>
        </p:sp>
      </p:grp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80A0CD63-1EF0-49FE-B83E-8B0213AA8B19}"/>
              </a:ext>
            </a:extLst>
          </p:cNvPr>
          <p:cNvSpPr/>
          <p:nvPr/>
        </p:nvSpPr>
        <p:spPr>
          <a:xfrm>
            <a:off x="6706904" y="4173416"/>
            <a:ext cx="5217574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0000"/>
              </a:lnSpc>
            </a:pP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Основное назначение вибродиагностики – это обнаружение дефектов во избежание отказов оборудования </a:t>
            </a:r>
          </a:p>
          <a:p>
            <a:pPr algn="just">
              <a:lnSpc>
                <a:spcPct val="100000"/>
              </a:lnSpc>
            </a:pP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Применительно к техническому обслуживанию и ремонту вибродиагностика помогает </a:t>
            </a:r>
            <a:r>
              <a:rPr lang="ru-RU" sz="1300" dirty="0" smtClean="0">
                <a:solidFill>
                  <a:srgbClr val="FF000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экономить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 затраты на техническое обслуживание.</a:t>
            </a:r>
          </a:p>
          <a:p>
            <a:pPr algn="just">
              <a:lnSpc>
                <a:spcPct val="100000"/>
              </a:lnSpc>
            </a:pP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За 2023 год удалось достичь экономии:</a:t>
            </a:r>
          </a:p>
          <a:p>
            <a:pPr algn="just">
              <a:lnSpc>
                <a:spcPct val="100000"/>
              </a:lnSpc>
            </a:pP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- </a:t>
            </a:r>
            <a:r>
              <a:rPr lang="ru-RU" sz="1300" dirty="0" smtClean="0">
                <a:solidFill>
                  <a:srgbClr val="FF000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261 000 000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 тенге на насосах и компрессорах;</a:t>
            </a:r>
          </a:p>
          <a:p>
            <a:pPr algn="just">
              <a:lnSpc>
                <a:spcPct val="100000"/>
              </a:lnSpc>
            </a:pP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-</a:t>
            </a:r>
            <a:r>
              <a:rPr lang="ru-RU" sz="1300" dirty="0" smtClean="0">
                <a:solidFill>
                  <a:srgbClr val="FF000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 56 100 000 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тенге на электродвигателях.</a:t>
            </a:r>
          </a:p>
          <a:p>
            <a:pPr algn="just">
              <a:lnSpc>
                <a:spcPct val="100000"/>
              </a:lnSpc>
            </a:pP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Есть планы по развитию данного направления: в 2024г. будут приобретены новые приборы </a:t>
            </a:r>
            <a:r>
              <a:rPr lang="en-US" sz="1300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Leonova Diamond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и проведено обучение инженеров отдела надежности.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55" b="16587"/>
          <a:stretch/>
        </p:blipFill>
        <p:spPr>
          <a:xfrm>
            <a:off x="6910560" y="805652"/>
            <a:ext cx="4945378" cy="336776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84" t="16572" r="25138"/>
          <a:stretch/>
        </p:blipFill>
        <p:spPr>
          <a:xfrm>
            <a:off x="6385169" y="2019342"/>
            <a:ext cx="1641231" cy="2163724"/>
          </a:xfrm>
          <a:prstGeom prst="rect">
            <a:avLst/>
          </a:prstGeom>
          <a:ln>
            <a:solidFill>
              <a:srgbClr val="FFFF00"/>
            </a:solidFill>
          </a:ln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80A0CD63-1EF0-49FE-B83E-8B0213AA8B19}"/>
              </a:ext>
            </a:extLst>
          </p:cNvPr>
          <p:cNvSpPr/>
          <p:nvPr/>
        </p:nvSpPr>
        <p:spPr>
          <a:xfrm>
            <a:off x="3957109" y="180508"/>
            <a:ext cx="82348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РЕЗУЛЬТАТЫ ФУНКЦИИ ВИБРОДИАГНОСТИКИ 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729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Freeform 13"/>
          <p:cNvSpPr>
            <a:spLocks/>
          </p:cNvSpPr>
          <p:nvPr/>
        </p:nvSpPr>
        <p:spPr bwMode="auto">
          <a:xfrm>
            <a:off x="289236" y="3155992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" name="Прямоугольник 132">
            <a:extLst>
              <a:ext uri="{FF2B5EF4-FFF2-40B4-BE49-F238E27FC236}">
                <a16:creationId xmlns:a16="http://schemas.microsoft.com/office/drawing/2014/main" id="{80A0CD63-1EF0-49FE-B83E-8B0213AA8B19}"/>
              </a:ext>
            </a:extLst>
          </p:cNvPr>
          <p:cNvSpPr/>
          <p:nvPr/>
        </p:nvSpPr>
        <p:spPr>
          <a:xfrm>
            <a:off x="5300195" y="29157"/>
            <a:ext cx="688560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</a:pPr>
            <a:r>
              <a:rPr lang="ru-RU" altLang="en-US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ЧЕСКИЙ АУДИТ ПО КОРРОЗИИ</a:t>
            </a:r>
          </a:p>
          <a:p>
            <a:pPr algn="r">
              <a:spcBef>
                <a:spcPct val="0"/>
              </a:spcBef>
            </a:pPr>
            <a:r>
              <a:rPr lang="ru-RU" altLang="en-US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ТРУДНИЧЕСТВО С АО «ИТКЭ ИМ. Д.В. СОКОЛЬСКОГО»</a:t>
            </a:r>
            <a:endParaRPr lang="ru-RU" alt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50917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1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Freeform 13"/>
          <p:cNvSpPr>
            <a:spLocks/>
          </p:cNvSpPr>
          <p:nvPr/>
        </p:nvSpPr>
        <p:spPr bwMode="auto">
          <a:xfrm>
            <a:off x="3501163" y="1744231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301879" y="1001528"/>
            <a:ext cx="11769738" cy="1384995"/>
          </a:xfrm>
          <a:prstGeom prst="rect">
            <a:avLst/>
          </a:prstGeom>
          <a:solidFill>
            <a:schemeClr val="bg1">
              <a:alpha val="39000"/>
            </a:schemeClr>
          </a:solidFill>
          <a:ln w="127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ЫПОЛНЕНИЕ РЕКОМЕНДАЦИЙ ИТКЭ ИМ. Д.В. СОКОЛЬСКОГО: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изведена установка датчиков онлайн мониторинга коррозии;</a:t>
            </a:r>
          </a:p>
          <a:p>
            <a:pPr indent="-266700" algn="just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ыполняется проведение анализов причин отказов, связанных с коррозионным повреждением. Производятся исследования образцов материала, подвергшегося коррозионному повреждению, и отложений в 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анном </a:t>
            </a: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борудовании;</a:t>
            </a:r>
          </a:p>
          <a:p>
            <a:pPr indent="-285750" algn="just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график лабораторного контроля БОВ внедрено определение химического и биологического потребления кислорода;</a:t>
            </a:r>
          </a:p>
          <a:p>
            <a:pPr indent="-285750" algn="just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беспечена бесперебойная закупка реагентов для защиты систем оборотного водоснабжения;</a:t>
            </a:r>
          </a:p>
          <a:p>
            <a:pPr indent="-285750" algn="just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вышена эффективность 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граммы </a:t>
            </a: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агентной обработки 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истем оборотного </a:t>
            </a: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одоснабжения. 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2"/>
          <a:srcRect l="93329" t="19350" r="4517" b="73374"/>
          <a:stretch/>
        </p:blipFill>
        <p:spPr>
          <a:xfrm>
            <a:off x="11444115" y="1740661"/>
            <a:ext cx="564543" cy="595907"/>
          </a:xfrm>
          <a:prstGeom prst="rect">
            <a:avLst/>
          </a:prstGeom>
          <a:noFill/>
        </p:spPr>
      </p:pic>
      <p:sp>
        <p:nvSpPr>
          <p:cNvPr id="34" name="Скругленный прямоугольник 33"/>
          <p:cNvSpPr/>
          <p:nvPr/>
        </p:nvSpPr>
        <p:spPr>
          <a:xfrm>
            <a:off x="3927365" y="2829589"/>
            <a:ext cx="661851" cy="402385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4883601" y="2827317"/>
            <a:ext cx="661851" cy="402385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5830070" y="2836029"/>
            <a:ext cx="661851" cy="402385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6791581" y="2832172"/>
            <a:ext cx="661851" cy="402385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7771004" y="2832172"/>
            <a:ext cx="661851" cy="402385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Стрелка вправо 38"/>
          <p:cNvSpPr/>
          <p:nvPr/>
        </p:nvSpPr>
        <p:spPr>
          <a:xfrm>
            <a:off x="4622830" y="3037222"/>
            <a:ext cx="225878" cy="45719"/>
          </a:xfrm>
          <a:prstGeom prst="right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Стрелка вправо 39"/>
          <p:cNvSpPr/>
          <p:nvPr/>
        </p:nvSpPr>
        <p:spPr>
          <a:xfrm>
            <a:off x="5569502" y="3032146"/>
            <a:ext cx="225878" cy="45719"/>
          </a:xfrm>
          <a:prstGeom prst="right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Стрелка вправо 40"/>
          <p:cNvSpPr/>
          <p:nvPr/>
        </p:nvSpPr>
        <p:spPr>
          <a:xfrm>
            <a:off x="6530773" y="3030782"/>
            <a:ext cx="225878" cy="45719"/>
          </a:xfrm>
          <a:prstGeom prst="right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Стрелка вправо 41"/>
          <p:cNvSpPr/>
          <p:nvPr/>
        </p:nvSpPr>
        <p:spPr>
          <a:xfrm>
            <a:off x="7499279" y="3033320"/>
            <a:ext cx="225878" cy="45719"/>
          </a:xfrm>
          <a:prstGeom prst="right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TextBox 42"/>
          <p:cNvSpPr txBox="1"/>
          <p:nvPr/>
        </p:nvSpPr>
        <p:spPr>
          <a:xfrm>
            <a:off x="3979757" y="2855110"/>
            <a:ext cx="5712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002060"/>
                </a:solidFill>
              </a:rPr>
              <a:t>2019</a:t>
            </a: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928911" y="2855109"/>
            <a:ext cx="5712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002060"/>
                </a:solidFill>
              </a:rPr>
              <a:t>2020</a:t>
            </a: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5875380" y="2855109"/>
            <a:ext cx="5712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002060"/>
                </a:solidFill>
              </a:rPr>
              <a:t>2021</a:t>
            </a: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836891" y="2855109"/>
            <a:ext cx="5712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002060"/>
                </a:solidFill>
              </a:rPr>
              <a:t>2022</a:t>
            </a: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7816314" y="2855109"/>
            <a:ext cx="5712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002060"/>
                </a:solidFill>
              </a:rPr>
              <a:t>2023</a:t>
            </a: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464909" y="2441999"/>
            <a:ext cx="94436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 итогам пятилетнего сотрудничества охвачены все установки ТОО «ПНХЗ»</a:t>
            </a:r>
            <a:endParaRPr lang="ru-RU" sz="16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>
            <a:off x="4474441" y="2846650"/>
            <a:ext cx="50581" cy="13638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/>
        </p:nvCxnSpPr>
        <p:spPr>
          <a:xfrm flipV="1">
            <a:off x="4520372" y="2771841"/>
            <a:ext cx="86173" cy="21119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>
            <a:off x="5440130" y="2846650"/>
            <a:ext cx="50581" cy="13638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 flipV="1">
            <a:off x="5486061" y="2771841"/>
            <a:ext cx="86173" cy="21119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6390745" y="2851216"/>
            <a:ext cx="50581" cy="13638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/>
        </p:nvCxnSpPr>
        <p:spPr>
          <a:xfrm flipV="1">
            <a:off x="6436676" y="2776407"/>
            <a:ext cx="86173" cy="21119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/>
          <p:cNvCxnSpPr/>
          <p:nvPr/>
        </p:nvCxnSpPr>
        <p:spPr>
          <a:xfrm>
            <a:off x="7330492" y="2846650"/>
            <a:ext cx="50581" cy="13638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/>
          <p:cNvCxnSpPr/>
          <p:nvPr/>
        </p:nvCxnSpPr>
        <p:spPr>
          <a:xfrm flipV="1">
            <a:off x="7376423" y="2771841"/>
            <a:ext cx="86173" cy="21119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/>
        </p:nvCxnSpPr>
        <p:spPr>
          <a:xfrm>
            <a:off x="8307006" y="2840663"/>
            <a:ext cx="50581" cy="13638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 flipV="1">
            <a:off x="8352937" y="2765854"/>
            <a:ext cx="86173" cy="21119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2" name="Chart 66">
            <a:extLst>
              <a:ext uri="{FF2B5EF4-FFF2-40B4-BE49-F238E27FC236}">
                <a16:creationId xmlns:a16="http://schemas.microsoft.com/office/drawing/2014/main" id="{ABC6BBC7-5283-4899-87CC-99E55AF9FC50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2211546" y="3388911"/>
          <a:ext cx="8075747" cy="3326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50" name="Рисунок 4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798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Freeform 13"/>
          <p:cNvSpPr>
            <a:spLocks/>
          </p:cNvSpPr>
          <p:nvPr/>
        </p:nvSpPr>
        <p:spPr bwMode="auto">
          <a:xfrm>
            <a:off x="289236" y="3155992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" name="Прямоугольник 132">
            <a:extLst>
              <a:ext uri="{FF2B5EF4-FFF2-40B4-BE49-F238E27FC236}">
                <a16:creationId xmlns:a16="http://schemas.microsoft.com/office/drawing/2014/main" id="{80A0CD63-1EF0-49FE-B83E-8B0213AA8B19}"/>
              </a:ext>
            </a:extLst>
          </p:cNvPr>
          <p:cNvSpPr/>
          <p:nvPr/>
        </p:nvSpPr>
        <p:spPr>
          <a:xfrm>
            <a:off x="7737427" y="16704"/>
            <a:ext cx="45019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</a:pPr>
            <a:r>
              <a:rPr lang="ru-RU" altLang="en-US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А МОНИТОРИНГА КОРРОЗИИ </a:t>
            </a:r>
          </a:p>
          <a:p>
            <a:pPr algn="r">
              <a:spcBef>
                <a:spcPct val="0"/>
              </a:spcBef>
            </a:pPr>
            <a:r>
              <a:rPr lang="ru-RU" altLang="en-US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ЕЖИМЕ РЕАЛЬНОГО ВРЕМЕНИ</a:t>
            </a:r>
            <a:endParaRPr lang="ru-RU" alt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50917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2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Freeform 13"/>
          <p:cNvSpPr>
            <a:spLocks/>
          </p:cNvSpPr>
          <p:nvPr/>
        </p:nvSpPr>
        <p:spPr bwMode="auto">
          <a:xfrm>
            <a:off x="6759194" y="3024074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1" t="5952" r="11935" b="33095"/>
          <a:stretch/>
        </p:blipFill>
        <p:spPr>
          <a:xfrm>
            <a:off x="7851236" y="1096051"/>
            <a:ext cx="1543111" cy="2548351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4872266"/>
              </p:ext>
            </p:extLst>
          </p:nvPr>
        </p:nvGraphicFramePr>
        <p:xfrm>
          <a:off x="279001" y="1346774"/>
          <a:ext cx="7278596" cy="1284045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3114191">
                  <a:extLst>
                    <a:ext uri="{9D8B030D-6E8A-4147-A177-3AD203B41FA5}">
                      <a16:colId xmlns:a16="http://schemas.microsoft.com/office/drawing/2014/main" val="3006822522"/>
                    </a:ext>
                  </a:extLst>
                </a:gridCol>
                <a:gridCol w="832881">
                  <a:extLst>
                    <a:ext uri="{9D8B030D-6E8A-4147-A177-3AD203B41FA5}">
                      <a16:colId xmlns:a16="http://schemas.microsoft.com/office/drawing/2014/main" val="3304917351"/>
                    </a:ext>
                  </a:extLst>
                </a:gridCol>
                <a:gridCol w="832881">
                  <a:extLst>
                    <a:ext uri="{9D8B030D-6E8A-4147-A177-3AD203B41FA5}">
                      <a16:colId xmlns:a16="http://schemas.microsoft.com/office/drawing/2014/main" val="3537685204"/>
                    </a:ext>
                  </a:extLst>
                </a:gridCol>
                <a:gridCol w="832881">
                  <a:extLst>
                    <a:ext uri="{9D8B030D-6E8A-4147-A177-3AD203B41FA5}">
                      <a16:colId xmlns:a16="http://schemas.microsoft.com/office/drawing/2014/main" val="3433257902"/>
                    </a:ext>
                  </a:extLst>
                </a:gridCol>
                <a:gridCol w="832881">
                  <a:extLst>
                    <a:ext uri="{9D8B030D-6E8A-4147-A177-3AD203B41FA5}">
                      <a16:colId xmlns:a16="http://schemas.microsoft.com/office/drawing/2014/main" val="2592137581"/>
                    </a:ext>
                  </a:extLst>
                </a:gridCol>
                <a:gridCol w="832881">
                  <a:extLst>
                    <a:ext uri="{9D8B030D-6E8A-4147-A177-3AD203B41FA5}">
                      <a16:colId xmlns:a16="http://schemas.microsoft.com/office/drawing/2014/main" val="3324744599"/>
                    </a:ext>
                  </a:extLst>
                </a:gridCol>
              </a:tblGrid>
              <a:tr h="491551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ИП ДАТЧИКОВ</a:t>
                      </a:r>
                      <a:endParaRPr lang="ru-RU" sz="1400" dirty="0"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020</a:t>
                      </a:r>
                      <a:endParaRPr lang="ru-RU" sz="1400" dirty="0"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021</a:t>
                      </a:r>
                      <a:endParaRPr lang="ru-RU" sz="1400" dirty="0"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022</a:t>
                      </a:r>
                      <a:endParaRPr lang="ru-RU" sz="1400" dirty="0"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023</a:t>
                      </a:r>
                      <a:endParaRPr lang="ru-RU" sz="1400" dirty="0"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Итого</a:t>
                      </a:r>
                      <a:endParaRPr lang="ru-RU" sz="1400" dirty="0"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6072768"/>
                  </a:ext>
                </a:extLst>
              </a:tr>
              <a:tr h="396247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Ультразвуковые датчики, шт.</a:t>
                      </a:r>
                      <a:endParaRPr lang="ru-RU" sz="16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endParaRPr lang="ru-RU" sz="16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41</a:t>
                      </a:r>
                      <a:endParaRPr lang="ru-RU" sz="16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endParaRPr lang="ru-RU" sz="16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6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77</a:t>
                      </a:r>
                      <a:endParaRPr lang="ru-RU" sz="16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4940336"/>
                  </a:ext>
                </a:extLst>
              </a:tr>
              <a:tr h="396247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Интрузивные</a:t>
                      </a:r>
                      <a:r>
                        <a:rPr lang="ru-RU" sz="1600" baseline="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датчики, шт.</a:t>
                      </a:r>
                      <a:endParaRPr lang="ru-RU" sz="16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6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6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6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endParaRPr lang="ru-RU" sz="16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endParaRPr lang="ru-RU" sz="16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5048166"/>
                  </a:ext>
                </a:extLst>
              </a:tr>
            </a:tbl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187157" y="819646"/>
            <a:ext cx="737043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личество датчиков онлайн мониторинга скорости коррозии установленных по годам</a:t>
            </a:r>
            <a:r>
              <a:rPr lang="ru-RU" sz="16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  <a:endParaRPr lang="ru-RU" sz="16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9392" y="2857786"/>
            <a:ext cx="3538204" cy="1803369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57" b="32317"/>
          <a:stretch/>
        </p:blipFill>
        <p:spPr>
          <a:xfrm>
            <a:off x="9652530" y="1096052"/>
            <a:ext cx="2227999" cy="2548351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extBox 12"/>
          <p:cNvSpPr txBox="1"/>
          <p:nvPr/>
        </p:nvSpPr>
        <p:spPr>
          <a:xfrm>
            <a:off x="187158" y="5536042"/>
            <a:ext cx="737043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Благодаря уникальной технологии компании</a:t>
            </a:r>
            <a:r>
              <a:rPr lang="en-US" sz="14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Emerson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беспроводной передачи данных с датчиков, контроль за скоростью коррозии осуществляется в режиме реального времени в программе </a:t>
            </a:r>
            <a:r>
              <a:rPr lang="en-US" sz="14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MES Ignition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.</a:t>
            </a:r>
            <a:endParaRPr lang="ru-RU" sz="1400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9004" y="2857786"/>
            <a:ext cx="3666920" cy="1803369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8706" y="4778963"/>
            <a:ext cx="932139" cy="35068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7"/>
          <a:srcRect l="73357" t="12675" r="23286" b="83163"/>
          <a:stretch/>
        </p:blipFill>
        <p:spPr>
          <a:xfrm>
            <a:off x="5333533" y="4763555"/>
            <a:ext cx="925245" cy="358425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8"/>
          <a:srcRect l="51994" t="11429" r="-119" b="2857"/>
          <a:stretch/>
        </p:blipFill>
        <p:spPr>
          <a:xfrm>
            <a:off x="7851235" y="4237875"/>
            <a:ext cx="4029294" cy="22426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TextBox 17"/>
          <p:cNvSpPr txBox="1"/>
          <p:nvPr/>
        </p:nvSpPr>
        <p:spPr>
          <a:xfrm>
            <a:off x="7851235" y="3644537"/>
            <a:ext cx="154311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Интрузивный датчик коррозии </a:t>
            </a:r>
          </a:p>
          <a:p>
            <a:pPr algn="ctr"/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Л-5/2 УЗК</a:t>
            </a:r>
            <a:endParaRPr lang="ru-RU" sz="11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717352" y="3736595"/>
            <a:ext cx="209835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З-датчики коррозии Л-114/1 С-100 ПППН</a:t>
            </a:r>
            <a:endParaRPr lang="ru-RU" sz="11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737427" y="6451875"/>
            <a:ext cx="42569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Возможность просмотра тренда скорости коррозии 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в </a:t>
            </a:r>
            <a:r>
              <a:rPr lang="en-US" sz="12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MES</a:t>
            </a:r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9"/>
          <a:srcRect l="72173" t="17429" r="21845" b="78285"/>
          <a:stretch/>
        </p:blipFill>
        <p:spPr>
          <a:xfrm>
            <a:off x="2690905" y="4884800"/>
            <a:ext cx="2188029" cy="489857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927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7842328" y="141108"/>
            <a:ext cx="42574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ОПАСНОСТЬ И ОХРАНА ТРУДА</a:t>
            </a:r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482135" y="784669"/>
            <a:ext cx="1166065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АНАЛИЗ ТРАВМАТИЗМА ЗА </a:t>
            </a:r>
            <a:r>
              <a:rPr lang="ru-RU" alt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2023 ГОД</a:t>
            </a:r>
            <a:endParaRPr lang="ru-RU" altLang="ru-RU" sz="1400" b="1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/>
          </p:nvPr>
        </p:nvGraphicFramePr>
        <p:xfrm>
          <a:off x="482135" y="1137338"/>
          <a:ext cx="11213869" cy="79264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5591714">
                  <a:extLst>
                    <a:ext uri="{9D8B030D-6E8A-4147-A177-3AD203B41FA5}">
                      <a16:colId xmlns:a16="http://schemas.microsoft.com/office/drawing/2014/main" val="1012008391"/>
                    </a:ext>
                  </a:extLst>
                </a:gridCol>
                <a:gridCol w="5622155">
                  <a:extLst>
                    <a:ext uri="{9D8B030D-6E8A-4147-A177-3AD203B41FA5}">
                      <a16:colId xmlns:a16="http://schemas.microsoft.com/office/drawing/2014/main" val="3154145268"/>
                    </a:ext>
                  </a:extLst>
                </a:gridCol>
              </a:tblGrid>
              <a:tr h="487841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НЕСЧАСТНЫЕ</a:t>
                      </a:r>
                      <a:r>
                        <a:rPr lang="ru-RU" sz="1200" baseline="0" dirty="0" smtClean="0">
                          <a:latin typeface="Century Gothic" panose="020B0502020202020204" pitchFamily="34" charset="0"/>
                        </a:rPr>
                        <a:t> СЛУЧАИ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0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4438549"/>
                  </a:ext>
                </a:extLst>
              </a:tr>
              <a:tr h="254278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Общее количество</a:t>
                      </a:r>
                      <a:r>
                        <a:rPr lang="ru-RU" sz="1400" baseline="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дней без несчастных случаев по состоянию на 31 декабря 2023 года </a:t>
                      </a:r>
                      <a:r>
                        <a:rPr lang="ru-RU" sz="1400" b="1" baseline="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– 1 975</a:t>
                      </a:r>
                      <a:endParaRPr lang="ru-RU" sz="18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2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346291"/>
                  </a:ext>
                </a:extLst>
              </a:tr>
            </a:tbl>
          </a:graphicData>
        </a:graphic>
      </p:graphicFrame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466184" y="1979261"/>
            <a:ext cx="1121386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АНАЛИЗ ЗАБОЛЕВАЕМОСТИ</a:t>
            </a:r>
            <a:endParaRPr lang="ru-RU" altLang="ru-RU" sz="1400" b="1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/>
          </p:nvPr>
        </p:nvGraphicFramePr>
        <p:xfrm>
          <a:off x="450231" y="2273383"/>
          <a:ext cx="11245774" cy="1628169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6941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04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41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012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548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3400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76685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11819"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Период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Количество работников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Количество случаев заболеваний </a:t>
                      </a:r>
                      <a:endParaRPr lang="ru-RU" sz="1200" kern="120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ru-RU" sz="1200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на 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100 раб.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Количество случаев заболеваний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Количество дней </a:t>
                      </a:r>
                      <a:r>
                        <a:rPr lang="ru-RU" sz="1200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нетрудоспособности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ru-RU" sz="1200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на 100 раб.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Количество дней </a:t>
                      </a:r>
                      <a:r>
                        <a:rPr lang="ru-RU" sz="1200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нетрудоспособности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967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всего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в</a:t>
                      </a:r>
                      <a:r>
                        <a:rPr lang="ru-RU" sz="1200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т.ч.</a:t>
                      </a:r>
                      <a:b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</a:b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женщин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133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2022 г.</a:t>
                      </a:r>
                      <a:endParaRPr lang="ru-RU" sz="1200" b="1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1 312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19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93,15</a:t>
                      </a:r>
                      <a:endParaRPr lang="ru-RU" sz="1200" kern="120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1 24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19,48</a:t>
                      </a:r>
                      <a:endParaRPr lang="ru-RU" sz="1200" kern="1200" noProof="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10 94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133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2023 г.</a:t>
                      </a:r>
                      <a:endParaRPr lang="ru-RU" sz="1200" b="1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1 628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231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18,87</a:t>
                      </a:r>
                      <a:endParaRPr lang="ru-RU" sz="1200" kern="120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ru-RU" sz="1200" kern="1200" baseline="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663</a:t>
                      </a:r>
                      <a:endParaRPr lang="ru-RU" sz="1200" kern="120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923,02</a:t>
                      </a:r>
                      <a:endParaRPr lang="ru-RU" sz="1200" kern="1200" noProof="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12</a:t>
                      </a:r>
                      <a:r>
                        <a:rPr lang="ru-RU" sz="1200" kern="1200" baseline="0" noProof="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 913</a:t>
                      </a:r>
                      <a:endParaRPr lang="ru-RU" sz="1200" kern="1200" noProof="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1403953"/>
                  </a:ext>
                </a:extLst>
              </a:tr>
              <a:tr h="604003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Показатели заболеваемости 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за</a:t>
                      </a:r>
                      <a:r>
                        <a:rPr lang="ru-RU" sz="1200" b="1" kern="1200" baseline="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3 год относительно</a:t>
                      </a:r>
                      <a:r>
                        <a:rPr lang="ru-RU" sz="1200" b="1" kern="1200" baseline="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уровня 2022 года:</a:t>
                      </a:r>
                      <a:endParaRPr lang="ru-RU" sz="1200" b="1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+ 316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+ 39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+ 25,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+ 419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+ 103,5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+ </a:t>
                      </a:r>
                      <a:r>
                        <a:rPr lang="ru-RU" sz="1200" kern="1200" baseline="0" noProof="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1 973</a:t>
                      </a:r>
                      <a:endParaRPr lang="ru-RU" sz="1200" kern="1200" noProof="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4257981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3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/>
          </p:nvPr>
        </p:nvGraphicFramePr>
        <p:xfrm>
          <a:off x="450231" y="4214917"/>
          <a:ext cx="11245773" cy="2371649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55536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921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2076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МЕРОПРИЯТИЯ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сумма,  тыс. тенге</a:t>
                      </a:r>
                      <a:r>
                        <a:rPr lang="ru-RU" sz="14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2023 год</a:t>
                      </a:r>
                      <a:endParaRPr lang="ru-RU" sz="14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8250">
                <a:tc>
                  <a:txBody>
                    <a:bodyPr/>
                    <a:lstStyle/>
                    <a:p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Обеспечение молоком</a:t>
                      </a:r>
                      <a:endParaRPr lang="ru-RU" sz="14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39 497</a:t>
                      </a:r>
                      <a:endParaRPr lang="ru-RU" sz="14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8741">
                <a:tc>
                  <a:txBody>
                    <a:bodyPr/>
                    <a:lstStyle/>
                    <a:p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Затраты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на</a:t>
                      </a:r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безопасность и охрану труда</a:t>
                      </a:r>
                      <a:endParaRPr lang="ru-RU" sz="14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90 749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8741">
                <a:tc>
                  <a:txBody>
                    <a:bodyPr/>
                    <a:lstStyle/>
                    <a:p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Обеспечение специальной одеждой, СИЗ </a:t>
                      </a:r>
                      <a:endParaRPr lang="ru-RU" sz="14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335 548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825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err="1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Мыломоющие</a:t>
                      </a:r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и дезинфицирующие средства</a:t>
                      </a:r>
                      <a:endParaRPr lang="ru-RU" sz="14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3 842</a:t>
                      </a:r>
                      <a:endParaRPr lang="ru-RU" sz="14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1447591"/>
                  </a:ext>
                </a:extLst>
              </a:tr>
              <a:tr h="317781">
                <a:tc>
                  <a:txBody>
                    <a:bodyPr/>
                    <a:lstStyle/>
                    <a:p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Медицинский осмотр работников</a:t>
                      </a:r>
                      <a:endParaRPr lang="ru-RU" sz="14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 339</a:t>
                      </a:r>
                      <a:endParaRPr lang="ru-RU" sz="14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1181">
                <a:tc>
                  <a:txBody>
                    <a:bodyPr/>
                    <a:lstStyle/>
                    <a:p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Итого (фактические затраты):        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87 975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466185" y="3949299"/>
            <a:ext cx="11213868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СРЕДСТВА, </a:t>
            </a:r>
            <a:r>
              <a:rPr lang="ru-RU" alt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ЗАТРАЧЕННЫЕ НА </a:t>
            </a:r>
            <a:r>
              <a:rPr lang="ru-RU" alt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БЕЗОПАСНОСТЬ И ОХРАНУ ТРУДА</a:t>
            </a:r>
            <a:endParaRPr lang="ru-RU" altLang="ru-RU" sz="1400" b="1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128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Таблица 9"/>
          <p:cNvGraphicFramePr>
            <a:graphicFrameLocks noGrp="1"/>
          </p:cNvGraphicFramePr>
          <p:nvPr>
            <p:extLst/>
          </p:nvPr>
        </p:nvGraphicFramePr>
        <p:xfrm>
          <a:off x="401426" y="901815"/>
          <a:ext cx="6331883" cy="196902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970549">
                  <a:extLst>
                    <a:ext uri="{9D8B030D-6E8A-4147-A177-3AD203B41FA5}">
                      <a16:colId xmlns:a16="http://schemas.microsoft.com/office/drawing/2014/main" val="3154145268"/>
                    </a:ext>
                  </a:extLst>
                </a:gridCol>
                <a:gridCol w="1180667">
                  <a:extLst>
                    <a:ext uri="{9D8B030D-6E8A-4147-A177-3AD203B41FA5}">
                      <a16:colId xmlns:a16="http://schemas.microsoft.com/office/drawing/2014/main" val="241779084"/>
                    </a:ext>
                  </a:extLst>
                </a:gridCol>
                <a:gridCol w="1180667">
                  <a:extLst>
                    <a:ext uri="{9D8B030D-6E8A-4147-A177-3AD203B41FA5}">
                      <a16:colId xmlns:a16="http://schemas.microsoft.com/office/drawing/2014/main" val="3728639497"/>
                    </a:ext>
                  </a:extLst>
                </a:gridCol>
              </a:tblGrid>
              <a:tr h="587385">
                <a:tc gridSpan="3">
                  <a:txBody>
                    <a:bodyPr/>
                    <a:lstStyle/>
                    <a:p>
                      <a:pPr algn="ctr" fontAlgn="base">
                        <a:lnSpc>
                          <a:spcPts val="1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altLang="ru-RU" sz="1200" b="1" cap="none" spc="0" baseline="0" dirty="0" smtClean="0">
                          <a:ln w="10160">
                            <a:noFill/>
                            <a:prstDash val="solid"/>
                          </a:ln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КОМПЛЕКСНЫЕ ПРОВЕРКИ </a:t>
                      </a:r>
                    </a:p>
                    <a:p>
                      <a:pPr algn="ctr" fontAlgn="base">
                        <a:lnSpc>
                          <a:spcPts val="1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altLang="ru-RU" sz="1200" b="1" cap="none" spc="0" baseline="0" dirty="0" smtClean="0">
                          <a:ln w="10160">
                            <a:noFill/>
                            <a:prstDash val="solid"/>
                          </a:ln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ПОСТОЯННО-ДЕЙСТВУЮЩИМИ И ПОЖАРНО-ТЕХНИЧЕСКИМИ КОМИССИЯМИ</a:t>
                      </a:r>
                      <a:endParaRPr lang="ru-RU" sz="1200" b="1" cap="none" spc="0" baseline="0" dirty="0">
                        <a:ln w="10160">
                          <a:noFill/>
                          <a:prstDash val="solid"/>
                        </a:ln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7714556"/>
                  </a:ext>
                </a:extLst>
              </a:tr>
              <a:tr h="406275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ru-RU" sz="14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2022</a:t>
                      </a:r>
                      <a:endParaRPr lang="ru-RU" sz="14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ts val="1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4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2023</a:t>
                      </a:r>
                      <a:endParaRPr lang="ru-RU" sz="14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38929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Проведено </a:t>
                      </a:r>
                      <a:endParaRPr lang="ru-RU" sz="14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2</a:t>
                      </a:r>
                      <a:endParaRPr lang="ru-RU" sz="14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8</a:t>
                      </a:r>
                      <a:endParaRPr lang="ru-RU" sz="14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34629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Количество несоответствий, выявленных при комплексных проверках</a:t>
                      </a:r>
                      <a:endParaRPr lang="ru-RU" sz="14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78</a:t>
                      </a:r>
                      <a:endParaRPr lang="ru-RU" sz="14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10</a:t>
                      </a:r>
                      <a:endParaRPr lang="ru-RU" sz="14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2287939"/>
                  </a:ext>
                </a:extLst>
              </a:tr>
            </a:tbl>
          </a:graphicData>
        </a:graphic>
      </p:graphicFrame>
      <p:graphicFrame>
        <p:nvGraphicFramePr>
          <p:cNvPr id="11" name="Таблица 10"/>
          <p:cNvGraphicFramePr>
            <a:graphicFrameLocks noGrp="1"/>
          </p:cNvGraphicFramePr>
          <p:nvPr>
            <p:extLst/>
          </p:nvPr>
        </p:nvGraphicFramePr>
        <p:xfrm>
          <a:off x="401426" y="2952646"/>
          <a:ext cx="6365135" cy="126659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932449">
                  <a:extLst>
                    <a:ext uri="{9D8B030D-6E8A-4147-A177-3AD203B41FA5}">
                      <a16:colId xmlns:a16="http://schemas.microsoft.com/office/drawing/2014/main" val="3154145268"/>
                    </a:ext>
                  </a:extLst>
                </a:gridCol>
                <a:gridCol w="1216343">
                  <a:extLst>
                    <a:ext uri="{9D8B030D-6E8A-4147-A177-3AD203B41FA5}">
                      <a16:colId xmlns:a16="http://schemas.microsoft.com/office/drawing/2014/main" val="3880461798"/>
                    </a:ext>
                  </a:extLst>
                </a:gridCol>
                <a:gridCol w="1216343">
                  <a:extLst>
                    <a:ext uri="{9D8B030D-6E8A-4147-A177-3AD203B41FA5}">
                      <a16:colId xmlns:a16="http://schemas.microsoft.com/office/drawing/2014/main" val="3034203973"/>
                    </a:ext>
                  </a:extLst>
                </a:gridCol>
              </a:tblGrid>
              <a:tr h="215514">
                <a:tc gridSpan="3">
                  <a:txBody>
                    <a:bodyPr/>
                    <a:lstStyle/>
                    <a:p>
                      <a:pPr marL="0" marR="0" lvl="0" indent="0" algn="ctr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 sz="1800" b="0" i="0" u="none" strike="noStrike" kern="0" cap="none" spc="0" baseline="0">
                          <a:solidFill>
                            <a:srgbClr val="000000"/>
                          </a:solidFill>
                          <a:uFillTx/>
                        </a:defRPr>
                      </a:pPr>
                      <a:r>
                        <a:rPr lang="ru-RU" sz="1200" b="1" u="none" strike="noStrike" kern="1200" cap="none" spc="0" baseline="0" dirty="0" smtClean="0">
                          <a:ln w="10160">
                            <a:noFill/>
                            <a:prstDash val="solid"/>
                          </a:ln>
                          <a:solidFill>
                            <a:srgbClr val="FFFFFF"/>
                          </a:solidFill>
                          <a:effectLst/>
                          <a:uFillTx/>
                          <a:latin typeface="Century Gothic" panose="020B0502020202020204" pitchFamily="34" charset="0"/>
                        </a:rPr>
                        <a:t>ВНУТРЕННИЕ</a:t>
                      </a:r>
                      <a:r>
                        <a:rPr lang="ru-RU" sz="1200" b="1" u="none" strike="noStrike" kern="1200" cap="none" spc="0" dirty="0" smtClean="0">
                          <a:ln w="10160">
                            <a:noFill/>
                            <a:prstDash val="solid"/>
                          </a:ln>
                          <a:solidFill>
                            <a:srgbClr val="FFFFFF"/>
                          </a:solidFill>
                          <a:effectLst/>
                          <a:uFillTx/>
                          <a:latin typeface="Century Gothic" panose="020B0502020202020204" pitchFamily="34" charset="0"/>
                        </a:rPr>
                        <a:t> ЦЕ</a:t>
                      </a:r>
                      <a:r>
                        <a:rPr lang="ru-RU" sz="1200" b="1" u="none" strike="noStrike" kern="1200" cap="none" spc="0" baseline="0" dirty="0" smtClean="0">
                          <a:ln w="10160">
                            <a:noFill/>
                            <a:prstDash val="solid"/>
                          </a:ln>
                          <a:solidFill>
                            <a:srgbClr val="FFFFFF"/>
                          </a:solidFill>
                          <a:effectLst/>
                          <a:uFillTx/>
                          <a:latin typeface="Century Gothic" panose="020B0502020202020204" pitchFamily="34" charset="0"/>
                        </a:rPr>
                        <a:t>ЛЕВЫЕ ПРОВЕРКИ В ОБЛАСТИ БЕЗОПАСНОСТИ И ОХРАНЫ ТРУДА</a:t>
                      </a:r>
                      <a:endParaRPr lang="ru-RU" sz="1200" b="1" cap="none" spc="0" dirty="0">
                        <a:ln w="10160">
                          <a:noFill/>
                          <a:prstDash val="solid"/>
                        </a:ln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7714556"/>
                  </a:ext>
                </a:extLst>
              </a:tr>
              <a:tr h="330758">
                <a:tc>
                  <a:txBody>
                    <a:bodyPr/>
                    <a:lstStyle/>
                    <a:p>
                      <a:pPr marL="0" marR="0" lvl="0" indent="0" algn="ctr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 sz="1800" b="0" i="0" u="none" strike="noStrike" kern="0" cap="none" spc="0" baseline="0">
                          <a:solidFill>
                            <a:srgbClr val="000000"/>
                          </a:solidFill>
                          <a:uFillTx/>
                        </a:defRPr>
                      </a:pPr>
                      <a:endParaRPr lang="ru-RU" sz="14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 sz="1800" b="0" i="0" u="none" strike="noStrike" kern="0" cap="none" spc="0" baseline="0">
                          <a:solidFill>
                            <a:srgbClr val="000000"/>
                          </a:solidFill>
                          <a:uFillTx/>
                        </a:defRPr>
                      </a:pPr>
                      <a:r>
                        <a:rPr lang="ru-RU" sz="14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2022</a:t>
                      </a:r>
                      <a:endParaRPr lang="ru-RU" sz="14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 sz="1800" b="0" i="0" u="none" strike="noStrike" kern="0" cap="none" spc="0" baseline="0">
                          <a:solidFill>
                            <a:srgbClr val="000000"/>
                          </a:solidFill>
                          <a:uFillTx/>
                        </a:defRPr>
                      </a:pPr>
                      <a:r>
                        <a:rPr lang="ru-RU" sz="14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2023</a:t>
                      </a:r>
                      <a:endParaRPr lang="ru-RU" sz="14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5688709"/>
                  </a:ext>
                </a:extLst>
              </a:tr>
              <a:tr h="330758">
                <a:tc>
                  <a:txBody>
                    <a:bodyPr/>
                    <a:lstStyle/>
                    <a:p>
                      <a:pPr algn="l"/>
                      <a:r>
                        <a:rPr lang="ru-RU" sz="14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Выдано</a:t>
                      </a:r>
                      <a:r>
                        <a:rPr lang="ru-RU" sz="1400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 Указаний</a:t>
                      </a:r>
                      <a:endParaRPr lang="ru-RU" sz="14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58</a:t>
                      </a:r>
                      <a:endParaRPr lang="ru-RU" sz="14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59</a:t>
                      </a:r>
                      <a:endParaRPr lang="ru-RU" sz="14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4438549"/>
                  </a:ext>
                </a:extLst>
              </a:tr>
              <a:tr h="330758">
                <a:tc>
                  <a:txBody>
                    <a:bodyPr/>
                    <a:lstStyle/>
                    <a:p>
                      <a:pPr algn="l"/>
                      <a:r>
                        <a:rPr lang="ru-RU" sz="14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Общее</a:t>
                      </a:r>
                      <a:r>
                        <a:rPr lang="ru-RU" sz="1400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 количество несоответствий</a:t>
                      </a:r>
                      <a:endParaRPr lang="ru-RU" sz="14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16</a:t>
                      </a:r>
                      <a:endParaRPr lang="ru-RU" sz="14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0</a:t>
                      </a:r>
                      <a:r>
                        <a:rPr lang="ru-RU" sz="14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3</a:t>
                      </a:r>
                      <a:endParaRPr lang="ru-RU" sz="14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346291"/>
                  </a:ext>
                </a:extLst>
              </a:tr>
            </a:tbl>
          </a:graphicData>
        </a:graphic>
      </p:graphicFrame>
      <p:sp>
        <p:nvSpPr>
          <p:cNvPr id="14" name="Прямоугольник 8"/>
          <p:cNvSpPr/>
          <p:nvPr/>
        </p:nvSpPr>
        <p:spPr>
          <a:xfrm>
            <a:off x="3146757" y="4432227"/>
            <a:ext cx="5823661" cy="307777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Times New Roman" pitchFamily="18"/>
              </a:rPr>
              <a:t>ПРОВЕДЕНИЕ ВВОДНОГО ИНСТРУКТАЖА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Times New Roman" pitchFamily="18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DC911C-37BB-4EEB-B359-9B68113A29C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0620" y="901815"/>
            <a:ext cx="4665129" cy="3331654"/>
          </a:xfrm>
          <a:prstGeom prst="rect">
            <a:avLst/>
          </a:prstGeom>
        </p:spPr>
      </p:pic>
      <p:graphicFrame>
        <p:nvGraphicFramePr>
          <p:cNvPr id="13" name="Таблица 12"/>
          <p:cNvGraphicFramePr>
            <a:graphicFrameLocks noGrp="1"/>
          </p:cNvGraphicFramePr>
          <p:nvPr>
            <p:extLst/>
          </p:nvPr>
        </p:nvGraphicFramePr>
        <p:xfrm>
          <a:off x="401426" y="4938762"/>
          <a:ext cx="11314326" cy="1592593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607042">
                  <a:extLst>
                    <a:ext uri="{9D8B030D-6E8A-4147-A177-3AD203B41FA5}">
                      <a16:colId xmlns:a16="http://schemas.microsoft.com/office/drawing/2014/main" val="3154145268"/>
                    </a:ext>
                  </a:extLst>
                </a:gridCol>
                <a:gridCol w="507359">
                  <a:extLst>
                    <a:ext uri="{9D8B030D-6E8A-4147-A177-3AD203B41FA5}">
                      <a16:colId xmlns:a16="http://schemas.microsoft.com/office/drawing/2014/main" val="1831187304"/>
                    </a:ext>
                  </a:extLst>
                </a:gridCol>
                <a:gridCol w="507359">
                  <a:extLst>
                    <a:ext uri="{9D8B030D-6E8A-4147-A177-3AD203B41FA5}">
                      <a16:colId xmlns:a16="http://schemas.microsoft.com/office/drawing/2014/main" val="2477345549"/>
                    </a:ext>
                  </a:extLst>
                </a:gridCol>
                <a:gridCol w="440794">
                  <a:extLst>
                    <a:ext uri="{9D8B030D-6E8A-4147-A177-3AD203B41FA5}">
                      <a16:colId xmlns:a16="http://schemas.microsoft.com/office/drawing/2014/main" val="307934405"/>
                    </a:ext>
                  </a:extLst>
                </a:gridCol>
                <a:gridCol w="440794">
                  <a:extLst>
                    <a:ext uri="{9D8B030D-6E8A-4147-A177-3AD203B41FA5}">
                      <a16:colId xmlns:a16="http://schemas.microsoft.com/office/drawing/2014/main" val="387520049"/>
                    </a:ext>
                  </a:extLst>
                </a:gridCol>
                <a:gridCol w="467325">
                  <a:extLst>
                    <a:ext uri="{9D8B030D-6E8A-4147-A177-3AD203B41FA5}">
                      <a16:colId xmlns:a16="http://schemas.microsoft.com/office/drawing/2014/main" val="3984232168"/>
                    </a:ext>
                  </a:extLst>
                </a:gridCol>
                <a:gridCol w="624840">
                  <a:extLst>
                    <a:ext uri="{9D8B030D-6E8A-4147-A177-3AD203B41FA5}">
                      <a16:colId xmlns:a16="http://schemas.microsoft.com/office/drawing/2014/main" val="2870847127"/>
                    </a:ext>
                  </a:extLst>
                </a:gridCol>
                <a:gridCol w="586740">
                  <a:extLst>
                    <a:ext uri="{9D8B030D-6E8A-4147-A177-3AD203B41FA5}">
                      <a16:colId xmlns:a16="http://schemas.microsoft.com/office/drawing/2014/main" val="2343970122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3668978137"/>
                    </a:ext>
                  </a:extLst>
                </a:gridCol>
                <a:gridCol w="480060">
                  <a:extLst>
                    <a:ext uri="{9D8B030D-6E8A-4147-A177-3AD203B41FA5}">
                      <a16:colId xmlns:a16="http://schemas.microsoft.com/office/drawing/2014/main" val="2847679055"/>
                    </a:ext>
                  </a:extLst>
                </a:gridCol>
                <a:gridCol w="594360">
                  <a:extLst>
                    <a:ext uri="{9D8B030D-6E8A-4147-A177-3AD203B41FA5}">
                      <a16:colId xmlns:a16="http://schemas.microsoft.com/office/drawing/2014/main" val="138138962"/>
                    </a:ext>
                  </a:extLst>
                </a:gridCol>
                <a:gridCol w="510540">
                  <a:extLst>
                    <a:ext uri="{9D8B030D-6E8A-4147-A177-3AD203B41FA5}">
                      <a16:colId xmlns:a16="http://schemas.microsoft.com/office/drawing/2014/main" val="1747314840"/>
                    </a:ext>
                  </a:extLst>
                </a:gridCol>
                <a:gridCol w="533400">
                  <a:extLst>
                    <a:ext uri="{9D8B030D-6E8A-4147-A177-3AD203B41FA5}">
                      <a16:colId xmlns:a16="http://schemas.microsoft.com/office/drawing/2014/main" val="3913523375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644947982"/>
                    </a:ext>
                  </a:extLst>
                </a:gridCol>
                <a:gridCol w="1238253">
                  <a:extLst>
                    <a:ext uri="{9D8B030D-6E8A-4147-A177-3AD203B41FA5}">
                      <a16:colId xmlns:a16="http://schemas.microsoft.com/office/drawing/2014/main" val="2901790796"/>
                    </a:ext>
                  </a:extLst>
                </a:gridCol>
              </a:tblGrid>
              <a:tr h="311546">
                <a:tc rowSpan="2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ОРГАНИЗАЦИЯ</a:t>
                      </a:r>
                    </a:p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(чел.)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Месяц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ИТОГО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8064875"/>
                  </a:ext>
                </a:extLst>
              </a:tr>
              <a:tr h="416951">
                <a:tc vMerge="1">
                  <a:txBody>
                    <a:bodyPr/>
                    <a:lstStyle/>
                    <a:p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0</a:t>
                      </a:r>
                      <a:r>
                        <a:rPr lang="ru-RU" sz="12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</a:t>
                      </a:r>
                      <a:endParaRPr lang="ru-RU" sz="12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02</a:t>
                      </a:r>
                      <a:endParaRPr lang="ru-RU" sz="12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0</a:t>
                      </a:r>
                      <a:r>
                        <a:rPr lang="ru-RU" sz="12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3</a:t>
                      </a:r>
                      <a:endParaRPr lang="ru-RU" sz="12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04</a:t>
                      </a:r>
                      <a:endParaRPr lang="ru-RU" sz="12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0</a:t>
                      </a:r>
                      <a:r>
                        <a:rPr lang="ru-RU" sz="12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5</a:t>
                      </a:r>
                      <a:endParaRPr lang="ru-RU" sz="12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06</a:t>
                      </a:r>
                      <a:endParaRPr lang="ru-RU" sz="12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0</a:t>
                      </a:r>
                      <a:r>
                        <a:rPr lang="ru-RU" sz="12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7</a:t>
                      </a:r>
                      <a:endParaRPr lang="ru-RU" sz="12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08</a:t>
                      </a:r>
                      <a:endParaRPr lang="ru-RU" sz="12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09</a:t>
                      </a:r>
                      <a:endParaRPr lang="ru-RU" sz="12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0</a:t>
                      </a:r>
                      <a:endParaRPr lang="ru-RU" sz="12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1</a:t>
                      </a:r>
                      <a:endParaRPr lang="ru-RU" sz="12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2</a:t>
                      </a:r>
                      <a:endParaRPr lang="ru-RU" sz="12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2023</a:t>
                      </a:r>
                      <a:r>
                        <a:rPr lang="en-US" sz="12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год</a:t>
                      </a:r>
                      <a:endParaRPr lang="ru-RU" sz="12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2022 год</a:t>
                      </a:r>
                      <a:endParaRPr lang="ru-RU" sz="12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4438549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ТОО</a:t>
                      </a:r>
                      <a:r>
                        <a:rPr lang="ru-RU" sz="1200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 «ПНХЗ» 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9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3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5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6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3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206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0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26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20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414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71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201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094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56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346291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Сторонние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361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253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300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317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480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561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371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338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338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230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216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221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4986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4221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8231339"/>
                  </a:ext>
                </a:extLst>
              </a:tr>
            </a:tbl>
          </a:graphicData>
        </a:graphic>
      </p:graphicFrame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18" name="Rectangle 8"/>
          <p:cNvSpPr>
            <a:spLocks noChangeArrowheads="1"/>
          </p:cNvSpPr>
          <p:nvPr/>
        </p:nvSpPr>
        <p:spPr bwMode="auto">
          <a:xfrm>
            <a:off x="7842328" y="141108"/>
            <a:ext cx="42574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ОПАСНОСТЬ И ОХРАНА ТРУДА</a:t>
            </a:r>
          </a:p>
        </p:txBody>
      </p:sp>
    </p:spTree>
    <p:extLst>
      <p:ext uri="{BB962C8B-B14F-4D97-AF65-F5344CB8AC3E}">
        <p14:creationId xmlns:p14="http://schemas.microsoft.com/office/powerpoint/2010/main" val="2350843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DC911C-37BB-4EEB-B359-9B68113A29C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477000" y="845761"/>
            <a:ext cx="552804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Сумма штрафов за нарушение требований безопасности и охраны труда, пожарной,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газовой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, промышленной безопасности подрядными и сервисными организациями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за 2023 год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(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в тыс. </a:t>
            </a:r>
            <a:r>
              <a:rPr kumimoji="0" lang="ru-RU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тг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.)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1536892688"/>
              </p:ext>
            </p:extLst>
          </p:nvPr>
        </p:nvGraphicFramePr>
        <p:xfrm>
          <a:off x="5855110" y="1834996"/>
          <a:ext cx="6336890" cy="49044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317499" y="843797"/>
            <a:ext cx="598790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defRPr sz="1200" b="1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Сумма штрафов за нарушение требований безопасности и охраны труда, пожарной, газовой, промышленной безопасности подрядными и сервисными организациями </a:t>
            </a:r>
          </a:p>
          <a:p>
            <a:pPr lvl="0" algn="just">
              <a:defRPr sz="1200" b="1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за 2023 год :</a:t>
            </a:r>
            <a:endParaRPr kumimoji="0" lang="ru-RU" sz="1400" i="0" u="none" strike="noStrike" kern="1200" cap="none" spc="0" normalizeH="0" baseline="0" noProof="0" dirty="0" smtClean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1987781"/>
              </p:ext>
            </p:extLst>
          </p:nvPr>
        </p:nvGraphicFramePr>
        <p:xfrm>
          <a:off x="317499" y="1797906"/>
          <a:ext cx="5987901" cy="104394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282323">
                  <a:extLst>
                    <a:ext uri="{9D8B030D-6E8A-4147-A177-3AD203B41FA5}">
                      <a16:colId xmlns:a16="http://schemas.microsoft.com/office/drawing/2014/main" val="1831187304"/>
                    </a:ext>
                  </a:extLst>
                </a:gridCol>
                <a:gridCol w="2136383">
                  <a:extLst>
                    <a:ext uri="{9D8B030D-6E8A-4147-A177-3AD203B41FA5}">
                      <a16:colId xmlns:a16="http://schemas.microsoft.com/office/drawing/2014/main" val="307934405"/>
                    </a:ext>
                  </a:extLst>
                </a:gridCol>
                <a:gridCol w="2569195">
                  <a:extLst>
                    <a:ext uri="{9D8B030D-6E8A-4147-A177-3AD203B41FA5}">
                      <a16:colId xmlns:a16="http://schemas.microsoft.com/office/drawing/2014/main" val="3984232168"/>
                    </a:ext>
                  </a:extLst>
                </a:gridCol>
              </a:tblGrid>
              <a:tr h="468427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год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Всего сумма штрафов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В том числе в остановочный ремонт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4438549"/>
                  </a:ext>
                </a:extLst>
              </a:tr>
              <a:tr h="26033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2022</a:t>
                      </a:r>
                      <a:endParaRPr lang="ru-RU" sz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11 823 180</a:t>
                      </a:r>
                      <a:endParaRPr lang="ru-RU" sz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4 992 90</a:t>
                      </a:r>
                      <a:endParaRPr lang="ru-RU" sz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8231339"/>
                  </a:ext>
                </a:extLst>
              </a:tr>
              <a:tr h="301199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2023</a:t>
                      </a:r>
                      <a:endParaRPr lang="ru-RU" sz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29 428 500</a:t>
                      </a:r>
                      <a:endParaRPr lang="ru-RU" sz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8 728 500</a:t>
                      </a:r>
                      <a:endParaRPr lang="ru-RU" sz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2823764"/>
                  </a:ext>
                </a:extLst>
              </a:tr>
            </a:tbl>
          </a:graphicData>
        </a:graphic>
      </p:graphicFrame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835788"/>
              </p:ext>
            </p:extLst>
          </p:nvPr>
        </p:nvGraphicFramePr>
        <p:xfrm>
          <a:off x="317498" y="2921001"/>
          <a:ext cx="5987902" cy="38366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2635">
                  <a:extLst>
                    <a:ext uri="{9D8B030D-6E8A-4147-A177-3AD203B41FA5}">
                      <a16:colId xmlns:a16="http://schemas.microsoft.com/office/drawing/2014/main" val="1966008090"/>
                    </a:ext>
                  </a:extLst>
                </a:gridCol>
                <a:gridCol w="4815267">
                  <a:extLst>
                    <a:ext uri="{9D8B030D-6E8A-4147-A177-3AD203B41FA5}">
                      <a16:colId xmlns:a16="http://schemas.microsoft.com/office/drawing/2014/main" val="1472561465"/>
                    </a:ext>
                  </a:extLst>
                </a:gridCol>
              </a:tblGrid>
              <a:tr h="415279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ВИДЫ НАРУШЕНИЙ</a:t>
                      </a:r>
                      <a:endParaRPr lang="ru-RU" sz="1100" dirty="0"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ХАРАКТЕРИСТИКА НАРУШЕНИЙ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2563853"/>
                  </a:ext>
                </a:extLst>
              </a:tr>
              <a:tr h="49870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Транспортная безопасност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Отсутствие искрогасителя на технике, потеки ГСМ на транспорте, использование спецтехники с неполным комплектом, отсутствие разрешения на въезд на территорию установки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100" b="0" i="0" u="none" strike="noStrike" dirty="0" smtClean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472009"/>
                  </a:ext>
                </a:extLst>
              </a:tr>
              <a:tr h="66185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ожарная безопасност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хранение пожароопасных материалов, отсутствие/неисправны огнетушители,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наличие на местах проведения огневых работ возгораемых материалов, неисправные манометры на баллонах, шланги с порывами </a:t>
                      </a:r>
                      <a:endParaRPr lang="ru-RU" sz="11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2884632"/>
                  </a:ext>
                </a:extLst>
              </a:tr>
              <a:tr h="49870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Работы на высот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неприменение/неисправные/неполное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применение</a:t>
                      </a:r>
                      <a:r>
                        <a:rPr lang="ru-RU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средств защиты от падений, средства </a:t>
                      </a:r>
                      <a:r>
                        <a:rPr lang="ru-RU" sz="11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подмащивания</a:t>
                      </a:r>
                      <a:r>
                        <a:rPr lang="ru-RU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не соответствуют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требованиям, </a:t>
                      </a:r>
                      <a:endParaRPr lang="ru-RU" sz="11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262670"/>
                  </a:ext>
                </a:extLst>
              </a:tr>
              <a:tr h="49870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Допускная систем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не </a:t>
                      </a:r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ведется полное и четкое заполнение всех пунктов </a:t>
                      </a:r>
                      <a:r>
                        <a:rPr lang="ru-RU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наряда-допуска, отсутствие наряда-допуска, отсутствие на рабочем месте ответственных лиц</a:t>
                      </a:r>
                      <a:endParaRPr lang="ru-RU" sz="11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1112136"/>
                  </a:ext>
                </a:extLst>
              </a:tr>
              <a:tr h="49870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Не применение СИЗ, СИЗ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Отсутствие/неприменение работниками СИЗОД,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отсутствие/неприменение работниками спецодежды, </a:t>
                      </a:r>
                      <a:r>
                        <a:rPr lang="ru-RU" sz="11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спецобуви</a:t>
                      </a:r>
                      <a:r>
                        <a:rPr lang="ru-RU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 СИЗ</a:t>
                      </a:r>
                      <a:endParaRPr lang="ru-RU" sz="11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204516"/>
                  </a:ext>
                </a:extLst>
              </a:tr>
              <a:tr h="66185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Электробезопасность</a:t>
                      </a:r>
                      <a:endParaRPr lang="ru-RU" sz="11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Использование неисправных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сетевых колодок, на инструментах отсутствуют бирки с проверкой, нет удостоверений на группу по электробезопасности, распределительные устройства без заземления</a:t>
                      </a:r>
                      <a:endParaRPr lang="ru-RU" sz="11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3758842"/>
                  </a:ext>
                </a:extLst>
              </a:tr>
            </a:tbl>
          </a:graphicData>
        </a:graphic>
      </p:graphicFrame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7842328" y="141108"/>
            <a:ext cx="42574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ОПАСНОСТЬ И ОХРАНА ТРУДА</a:t>
            </a:r>
          </a:p>
        </p:txBody>
      </p:sp>
    </p:spTree>
    <p:extLst>
      <p:ext uri="{BB962C8B-B14F-4D97-AF65-F5344CB8AC3E}">
        <p14:creationId xmlns:p14="http://schemas.microsoft.com/office/powerpoint/2010/main" val="313758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8470" y="763250"/>
            <a:ext cx="12097333" cy="56784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Ко дню независимости Республики Казахстан прошел второй этап конкурса по интегрированной системе безопасности и охраны труда «АМАН». По итогам конкурса были присвоены призовые места в номинациях:   </a:t>
            </a:r>
          </a:p>
          <a:p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«Лучшее </a:t>
            </a:r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производство»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: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1 место – 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ПСиОЗХ;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2 место – 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ПГПН;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3 место – 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ПСН.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«Лучший начальник </a:t>
            </a:r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производства</a:t>
            </a: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»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:</a:t>
            </a:r>
          </a:p>
          <a:p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1 место – 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начальник производства ПСиОЗХ 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– </a:t>
            </a:r>
            <a:r>
              <a:rPr lang="ru-RU" sz="1300" dirty="0" err="1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Байтанаев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А.Б.;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2 место – начальник производства 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ПГПН 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– Мухамедиев 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А.О.;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3 место – начальник производства 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ПСН 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– 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Музыка П.В.;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«Лучший начальник </a:t>
            </a:r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установки / участка)»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: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1 место – 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Семёнов П.А. 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(начальник 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С-300, ПГПН);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2 место 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– </a:t>
            </a:r>
            <a:r>
              <a:rPr lang="ru-RU" sz="1300" dirty="0" err="1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Уразалинов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И.Н. (начальник РХ, ПСН);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3 место – </a:t>
            </a:r>
            <a:r>
              <a:rPr lang="ru-RU" sz="1300" dirty="0" err="1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Сембин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М.К. (</a:t>
            </a:r>
            <a:r>
              <a:rPr lang="ru-RU" sz="1300" dirty="0" err="1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и.о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начальника ПСГ, ПКОН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).</a:t>
            </a:r>
          </a:p>
          <a:p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«Лучший </a:t>
            </a:r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наблюдатель ПНБ»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: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Начальник 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установки 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ПСиОЗХ – Омаров Б.А. </a:t>
            </a:r>
          </a:p>
          <a:p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«</a:t>
            </a: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Лучший наблюдатель </a:t>
            </a:r>
            <a:r>
              <a:rPr lang="ru-RU" sz="1300" b="1" dirty="0" err="1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Үздік</a:t>
            </a:r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«</a:t>
            </a:r>
            <a:r>
              <a:rPr lang="kk-KZ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Қорғау картасы</a:t>
            </a:r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»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:</a:t>
            </a:r>
          </a:p>
          <a:p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1 место 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– начальник установки ППТНО – Шубников С.В.;</a:t>
            </a:r>
          </a:p>
          <a:p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2 место – оператор товарный ПСиОЗХ – С</a:t>
            </a:r>
            <a:r>
              <a:rPr lang="kk-KZ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әлібек Ә.Ә.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;</a:t>
            </a:r>
          </a:p>
          <a:p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3 место – оператор т/у ПППН – Абаев А.Б.</a:t>
            </a:r>
          </a:p>
          <a:p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«Лучший </a:t>
            </a:r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технический инспектор»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: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Сливщик-разливщик ПКОН – Гончаров С.А.</a:t>
            </a:r>
          </a:p>
          <a:p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«Лучший </a:t>
            </a:r>
            <a:r>
              <a:rPr lang="ru-RU" sz="1300" b="1" dirty="0" err="1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парамедик</a:t>
            </a:r>
            <a:r>
              <a:rPr lang="ru-RU" sz="13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»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: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Оператор т/у ПГПН – Ильичев Д.Д. </a:t>
            </a:r>
          </a:p>
          <a:p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«Лучший инженер (ведущий инженер) по Б и ОТ»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:</a:t>
            </a:r>
          </a:p>
          <a:p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Инженер по Б и ОТ – Бейсекеев А.М</a:t>
            </a:r>
            <a:r>
              <a:rPr lang="ru-RU" sz="13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.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6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6906409" y="0"/>
            <a:ext cx="527939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ГРИРОВАННАЯ СИСТЕМА БЕЗОПАСНОСТИ И ОХРАНЫ ТРУДА «АМАН»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2467" y="1303867"/>
            <a:ext cx="6843336" cy="496993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850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7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5285819"/>
              </p:ext>
            </p:extLst>
          </p:nvPr>
        </p:nvGraphicFramePr>
        <p:xfrm>
          <a:off x="602742" y="3242824"/>
          <a:ext cx="4611724" cy="22783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20003">
                  <a:extLst>
                    <a:ext uri="{9D8B030D-6E8A-4147-A177-3AD203B41FA5}">
                      <a16:colId xmlns:a16="http://schemas.microsoft.com/office/drawing/2014/main" val="573753134"/>
                    </a:ext>
                  </a:extLst>
                </a:gridCol>
                <a:gridCol w="891721">
                  <a:extLst>
                    <a:ext uri="{9D8B030D-6E8A-4147-A177-3AD203B41FA5}">
                      <a16:colId xmlns:a16="http://schemas.microsoft.com/office/drawing/2014/main" val="3378561140"/>
                    </a:ext>
                  </a:extLst>
                </a:gridCol>
              </a:tblGrid>
              <a:tr h="3096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ИМЕНОВАНИ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л-во, чел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673775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88900" indent="0" algn="l" defTabSz="914400" rtl="0" eaLnBrk="1" fontAlgn="b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хническое обслуживание АСУТП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469479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88900" indent="0" algn="l" defTabSz="914400" rtl="0" eaLnBrk="1" fontAlgn="b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хническое обслуживание трубопроводов (ПВС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9684910"/>
                  </a:ext>
                </a:extLst>
              </a:tr>
              <a:tr h="434310">
                <a:tc>
                  <a:txBody>
                    <a:bodyPr/>
                    <a:lstStyle/>
                    <a:p>
                      <a:pPr marL="88900" indent="0" algn="l" defTabSz="914400" rtl="0" eaLnBrk="1" fontAlgn="b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хническое обслуживание водоснабжения, водоочистки и канализации (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иК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449641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88900" indent="0" algn="l" defTabSz="914400" rtl="0" eaLnBrk="1" fontAlgn="b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антехническое обслуживание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9773221"/>
                  </a:ext>
                </a:extLst>
              </a:tr>
              <a:tr h="385200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ТОГО: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1223341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411354" y="2935047"/>
            <a:ext cx="46117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 01.07.2023 года</a:t>
            </a:r>
            <a:endParaRPr lang="en-US" sz="16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848351" y="1522290"/>
            <a:ext cx="58385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01.11.2023 года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211F27F3-B08E-4BFF-A3D4-735AC6657E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5742843"/>
              </p:ext>
            </p:extLst>
          </p:nvPr>
        </p:nvGraphicFramePr>
        <p:xfrm>
          <a:off x="5799136" y="1931483"/>
          <a:ext cx="5838577" cy="176667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992854">
                  <a:extLst>
                    <a:ext uri="{9D8B030D-6E8A-4147-A177-3AD203B41FA5}">
                      <a16:colId xmlns:a16="http://schemas.microsoft.com/office/drawing/2014/main" val="3176633943"/>
                    </a:ext>
                  </a:extLst>
                </a:gridCol>
                <a:gridCol w="845723">
                  <a:extLst>
                    <a:ext uri="{9D8B030D-6E8A-4147-A177-3AD203B41FA5}">
                      <a16:colId xmlns:a16="http://schemas.microsoft.com/office/drawing/2014/main" val="3049891498"/>
                    </a:ext>
                  </a:extLst>
                </a:gridCol>
              </a:tblGrid>
              <a:tr h="284591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-во, чел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1644">
                <a:tc>
                  <a:txBody>
                    <a:bodyPr/>
                    <a:lstStyle/>
                    <a:p>
                      <a:pPr marL="88900" indent="0" algn="l" defTabSz="914400" rtl="0" eaLnBrk="1" fontAlgn="b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оительно-монтажные работы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8106429"/>
                  </a:ext>
                </a:extLst>
              </a:tr>
              <a:tr h="342051">
                <a:tc>
                  <a:txBody>
                    <a:bodyPr/>
                    <a:lstStyle/>
                    <a:p>
                      <a:pPr marL="88900" indent="0" algn="l" defTabSz="914400" rtl="0" eaLnBrk="1" fontAlgn="b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хническое обслуживание, ремонт электрооборудования и электрических сете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4517942"/>
                  </a:ext>
                </a:extLst>
              </a:tr>
              <a:tr h="231644">
                <a:tc>
                  <a:txBody>
                    <a:bodyPr/>
                    <a:lstStyle/>
                    <a:p>
                      <a:pPr marL="88900" indent="0" algn="l" defTabSz="914400" rtl="0" eaLnBrk="1" fontAlgn="b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монт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ИПиА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166825"/>
                  </a:ext>
                </a:extLst>
              </a:tr>
              <a:tr h="231644">
                <a:tc>
                  <a:txBody>
                    <a:bodyPr/>
                    <a:lstStyle/>
                    <a:p>
                      <a:pPr marL="88900" indent="0" algn="l" defTabSz="914400" rtl="0" eaLnBrk="1" fontAlgn="b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служивание</a:t>
                      </a:r>
                      <a:r>
                        <a:rPr lang="ru-RU" sz="1400" b="0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кондиционирования 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 вентиляции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7092517"/>
                  </a:ext>
                </a:extLst>
              </a:tr>
              <a:tr h="354084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ТОГО: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7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073102"/>
                  </a:ext>
                </a:extLst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5799136" y="3902760"/>
            <a:ext cx="58713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01.12.2023 года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5" name="Таблица 14">
            <a:extLst>
              <a:ext uri="{FF2B5EF4-FFF2-40B4-BE49-F238E27FC236}">
                <a16:creationId xmlns:a16="http://schemas.microsoft.com/office/drawing/2014/main" id="{211F27F3-B08E-4BFF-A3D4-735AC6657E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4550312"/>
              </p:ext>
            </p:extLst>
          </p:nvPr>
        </p:nvGraphicFramePr>
        <p:xfrm>
          <a:off x="5815541" y="4424737"/>
          <a:ext cx="5871387" cy="10675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009283">
                  <a:extLst>
                    <a:ext uri="{9D8B030D-6E8A-4147-A177-3AD203B41FA5}">
                      <a16:colId xmlns:a16="http://schemas.microsoft.com/office/drawing/2014/main" val="3176633943"/>
                    </a:ext>
                  </a:extLst>
                </a:gridCol>
                <a:gridCol w="862104">
                  <a:extLst>
                    <a:ext uri="{9D8B030D-6E8A-4147-A177-3AD203B41FA5}">
                      <a16:colId xmlns:a16="http://schemas.microsoft.com/office/drawing/2014/main" val="30498914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-во, чел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88900" indent="0" algn="l" defTabSz="914400" rtl="0" eaLnBrk="1" fontAlgn="b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етрологическое обслуживание</a:t>
                      </a:r>
                      <a:r>
                        <a:rPr lang="ru-RU" sz="1400" b="0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метрология и поверка)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810642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88900" indent="0" algn="l" defTabSz="914400" rtl="0" eaLnBrk="1" fontAlgn="b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боты по ремонту технологического оборудования (РМЦ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4517942"/>
                  </a:ext>
                </a:extLst>
              </a:tr>
              <a:tr h="386347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ТОГО: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5656184"/>
                  </a:ext>
                </a:extLst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326292" y="5784308"/>
            <a:ext cx="649296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74650" indent="-285750" fontAlgn="b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врат персонала всего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1 232 чел;</a:t>
            </a:r>
          </a:p>
          <a:p>
            <a:pPr marL="374650" indent="-285750" fontAlgn="b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татная численность ПНХЗ после возврата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2 702 чел. 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02742" y="953759"/>
            <a:ext cx="109909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algn="just" fontAlgn="b"/>
            <a:r>
              <a:rPr lang="kk-KZ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kk-KZ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ленные сроки осуществлен возврат </a:t>
            </a:r>
            <a:r>
              <a:rPr lang="kk-KZ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сонала аутсорсинговых </a:t>
            </a:r>
            <a:r>
              <a:rPr lang="kk-KZ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lang="kk-KZ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й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6337066"/>
              </p:ext>
            </p:extLst>
          </p:nvPr>
        </p:nvGraphicFramePr>
        <p:xfrm>
          <a:off x="602742" y="1910999"/>
          <a:ext cx="4611724" cy="69253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20003">
                  <a:extLst>
                    <a:ext uri="{9D8B030D-6E8A-4147-A177-3AD203B41FA5}">
                      <a16:colId xmlns:a16="http://schemas.microsoft.com/office/drawing/2014/main" val="3092932391"/>
                    </a:ext>
                  </a:extLst>
                </a:gridCol>
                <a:gridCol w="891721">
                  <a:extLst>
                    <a:ext uri="{9D8B030D-6E8A-4147-A177-3AD203B41FA5}">
                      <a16:colId xmlns:a16="http://schemas.microsoft.com/office/drawing/2014/main" val="783020650"/>
                    </a:ext>
                  </a:extLst>
                </a:gridCol>
              </a:tblGrid>
              <a:tr h="38076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ИМЕНОВАНИ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л-во, чел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4307562"/>
                  </a:ext>
                </a:extLst>
              </a:tr>
              <a:tr h="311765">
                <a:tc>
                  <a:txBody>
                    <a:bodyPr/>
                    <a:lstStyle/>
                    <a:p>
                      <a:pPr marL="88900" fontAlgn="b"/>
                      <a:r>
                        <a:rPr lang="kk-KZ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служивание подъездных путей 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016357"/>
                  </a:ext>
                </a:extLst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326293" y="1590619"/>
            <a:ext cx="46117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 01.01.2023 года</a:t>
            </a:r>
            <a:endParaRPr lang="en-US" sz="16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2827387" y="193940"/>
            <a:ext cx="936461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ВРАТ </a:t>
            </a:r>
            <a:r>
              <a:rPr lang="ru-RU" alt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ЧЕСКОГО СЕРВИСА</a:t>
            </a:r>
            <a:endParaRPr lang="ru-RU" alt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0432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8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8484415" y="170229"/>
            <a:ext cx="370758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ДРОВАЯ </a:t>
            </a:r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ИТИКА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Диаграмма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15360920"/>
              </p:ext>
            </p:extLst>
          </p:nvPr>
        </p:nvGraphicFramePr>
        <p:xfrm>
          <a:off x="142279" y="1517142"/>
          <a:ext cx="4666917" cy="10752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235527" y="777330"/>
            <a:ext cx="4857982" cy="95410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Численность персонала на 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1.12.202</a:t>
            </a:r>
            <a:r>
              <a:rPr lang="en-US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. – </a:t>
            </a: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 424 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чел.</a:t>
            </a:r>
          </a:p>
          <a:p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едний возраст персонала - </a:t>
            </a: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40 лет</a:t>
            </a:r>
            <a:endParaRPr lang="en-US" sz="14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r>
              <a:rPr lang="en-US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 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ысшим образованием – </a:t>
            </a: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212 чел. (50 %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)</a:t>
            </a:r>
            <a:endParaRPr lang="en-US" sz="1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едний стаж 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боты на заводе – </a:t>
            </a: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0 лет</a:t>
            </a:r>
            <a:endParaRPr lang="ru-RU" sz="14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5180712" y="5157742"/>
            <a:ext cx="741268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АКТИКА НА ЗАВОДЕ СТУДЕНТОВ ВУЗОВ И КОЛЛЕДЖЕЙ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7" name="Таблица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5569674"/>
              </p:ext>
            </p:extLst>
          </p:nvPr>
        </p:nvGraphicFramePr>
        <p:xfrm>
          <a:off x="6125858" y="5477792"/>
          <a:ext cx="5447202" cy="685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17957">
                  <a:extLst>
                    <a:ext uri="{9D8B030D-6E8A-4147-A177-3AD203B41FA5}">
                      <a16:colId xmlns:a16="http://schemas.microsoft.com/office/drawing/2014/main" val="3588736061"/>
                    </a:ext>
                  </a:extLst>
                </a:gridCol>
                <a:gridCol w="877103">
                  <a:extLst>
                    <a:ext uri="{9D8B030D-6E8A-4147-A177-3AD203B41FA5}">
                      <a16:colId xmlns:a16="http://schemas.microsoft.com/office/drawing/2014/main" val="3497413370"/>
                    </a:ext>
                  </a:extLst>
                </a:gridCol>
                <a:gridCol w="786267">
                  <a:extLst>
                    <a:ext uri="{9D8B030D-6E8A-4147-A177-3AD203B41FA5}">
                      <a16:colId xmlns:a16="http://schemas.microsoft.com/office/drawing/2014/main" val="2073102221"/>
                    </a:ext>
                  </a:extLst>
                </a:gridCol>
                <a:gridCol w="831685">
                  <a:extLst>
                    <a:ext uri="{9D8B030D-6E8A-4147-A177-3AD203B41FA5}">
                      <a16:colId xmlns:a16="http://schemas.microsoft.com/office/drawing/2014/main" val="2861157576"/>
                    </a:ext>
                  </a:extLst>
                </a:gridCol>
                <a:gridCol w="817095">
                  <a:extLst>
                    <a:ext uri="{9D8B030D-6E8A-4147-A177-3AD203B41FA5}">
                      <a16:colId xmlns:a16="http://schemas.microsoft.com/office/drawing/2014/main" val="3110382650"/>
                    </a:ext>
                  </a:extLst>
                </a:gridCol>
                <a:gridCol w="817095">
                  <a:extLst>
                    <a:ext uri="{9D8B030D-6E8A-4147-A177-3AD203B41FA5}">
                      <a16:colId xmlns:a16="http://schemas.microsoft.com/office/drawing/2014/main" val="415247461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Годы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2019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2020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2021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2022 г.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2023 г.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3411789"/>
                  </a:ext>
                </a:extLst>
              </a:tr>
              <a:tr h="220313"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Кол-во практикантов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199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68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66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04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76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2266820"/>
                  </a:ext>
                </a:extLst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5527343" y="806747"/>
            <a:ext cx="635208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адровый </a:t>
            </a: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зерв 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формирован на все критичные и ключевые позиции. Постоянные и временные переводы осуществляются согласно кадровому резерву. </a:t>
            </a:r>
          </a:p>
        </p:txBody>
      </p:sp>
      <p:graphicFrame>
        <p:nvGraphicFramePr>
          <p:cNvPr id="25" name="Таблица 24"/>
          <p:cNvGraphicFramePr>
            <a:graphicFrameLocks noGrp="1"/>
          </p:cNvGraphicFramePr>
          <p:nvPr>
            <p:extLst/>
          </p:nvPr>
        </p:nvGraphicFramePr>
        <p:xfrm>
          <a:off x="5636524" y="1629940"/>
          <a:ext cx="6242908" cy="1070081"/>
        </p:xfrm>
        <a:graphic>
          <a:graphicData uri="http://schemas.openxmlformats.org/drawingml/2006/table">
            <a:tbl>
              <a:tblPr/>
              <a:tblGrid>
                <a:gridCol w="1651380">
                  <a:extLst>
                    <a:ext uri="{9D8B030D-6E8A-4147-A177-3AD203B41FA5}">
                      <a16:colId xmlns:a16="http://schemas.microsoft.com/office/drawing/2014/main" val="2867332898"/>
                    </a:ext>
                  </a:extLst>
                </a:gridCol>
                <a:gridCol w="1043564">
                  <a:extLst>
                    <a:ext uri="{9D8B030D-6E8A-4147-A177-3AD203B41FA5}">
                      <a16:colId xmlns:a16="http://schemas.microsoft.com/office/drawing/2014/main" val="2403068950"/>
                    </a:ext>
                  </a:extLst>
                </a:gridCol>
                <a:gridCol w="1070336">
                  <a:extLst>
                    <a:ext uri="{9D8B030D-6E8A-4147-A177-3AD203B41FA5}">
                      <a16:colId xmlns:a16="http://schemas.microsoft.com/office/drawing/2014/main" val="3847441973"/>
                    </a:ext>
                  </a:extLst>
                </a:gridCol>
                <a:gridCol w="1134268">
                  <a:extLst>
                    <a:ext uri="{9D8B030D-6E8A-4147-A177-3AD203B41FA5}">
                      <a16:colId xmlns:a16="http://schemas.microsoft.com/office/drawing/2014/main" val="692474092"/>
                    </a:ext>
                  </a:extLst>
                </a:gridCol>
                <a:gridCol w="1343360">
                  <a:extLst>
                    <a:ext uri="{9D8B030D-6E8A-4147-A177-3AD203B41FA5}">
                      <a16:colId xmlns:a16="http://schemas.microsoft.com/office/drawing/2014/main" val="3855520380"/>
                    </a:ext>
                  </a:extLst>
                </a:gridCol>
              </a:tblGrid>
              <a:tr h="46077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оличество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должностей/профессий кадрового резерва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86" marR="4786" marT="47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ол-во резервистов</a:t>
                      </a:r>
                    </a:p>
                  </a:txBody>
                  <a:tcPr marL="4786" marR="4786" marT="47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в т.ч. </a:t>
                      </a:r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резервисты</a:t>
                      </a:r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до 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35-лет</a:t>
                      </a:r>
                    </a:p>
                  </a:txBody>
                  <a:tcPr marL="4786" marR="4786" marT="47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ол-во </a:t>
                      </a:r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назначенных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резервистов</a:t>
                      </a:r>
                    </a:p>
                  </a:txBody>
                  <a:tcPr marL="4786" marR="4786" marT="47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%</a:t>
                      </a:r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назначения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из кадрового </a:t>
                      </a:r>
                      <a:r>
                        <a:rPr lang="ru-RU" sz="12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резерва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86" marR="4786" marT="47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945672"/>
                  </a:ext>
                </a:extLst>
              </a:tr>
              <a:tr h="3337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19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3590" marR="3590" marT="359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9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3590" marR="3590" marT="359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19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3590" marR="3590" marT="359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1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3590" marR="3590" marT="359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0 %</a:t>
                      </a:r>
                    </a:p>
                  </a:txBody>
                  <a:tcPr marL="3590" marR="3590" marT="359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9825136"/>
                  </a:ext>
                </a:extLst>
              </a:tr>
            </a:tbl>
          </a:graphicData>
        </a:graphic>
      </p:graphicFrame>
      <p:graphicFrame>
        <p:nvGraphicFramePr>
          <p:cNvPr id="26" name="Диаграмма 25"/>
          <p:cNvGraphicFramePr/>
          <p:nvPr>
            <p:extLst>
              <p:ext uri="{D42A27DB-BD31-4B8C-83A1-F6EECF244321}">
                <p14:modId xmlns:p14="http://schemas.microsoft.com/office/powerpoint/2010/main" val="1135645205"/>
              </p:ext>
            </p:extLst>
          </p:nvPr>
        </p:nvGraphicFramePr>
        <p:xfrm>
          <a:off x="5784091" y="2908772"/>
          <a:ext cx="6095341" cy="18558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7" name="Прямоугольник 26"/>
          <p:cNvSpPr/>
          <p:nvPr/>
        </p:nvSpPr>
        <p:spPr>
          <a:xfrm>
            <a:off x="7284948" y="2873099"/>
            <a:ext cx="29460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УАЛЬНОЕ ОБУЧЕНИЕ</a:t>
            </a:r>
          </a:p>
        </p:txBody>
      </p:sp>
      <p:graphicFrame>
        <p:nvGraphicFramePr>
          <p:cNvPr id="18" name="Диаграмма 11"/>
          <p:cNvGraphicFramePr>
            <a:graphicFrameLocks/>
          </p:cNvGraphicFramePr>
          <p:nvPr>
            <p:extLst/>
          </p:nvPr>
        </p:nvGraphicFramePr>
        <p:xfrm>
          <a:off x="407368" y="3019932"/>
          <a:ext cx="3672408" cy="670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9" name="Прямоугольник 18"/>
          <p:cNvSpPr/>
          <p:nvPr/>
        </p:nvSpPr>
        <p:spPr>
          <a:xfrm>
            <a:off x="479376" y="2742933"/>
            <a:ext cx="2808312" cy="27699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эффициент текучести</a:t>
            </a:r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07368" y="3807844"/>
            <a:ext cx="410445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SzPct val="106000"/>
            </a:pPr>
            <a:r>
              <a:rPr lang="ru-RU" alt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кучесть </a:t>
            </a:r>
            <a:r>
              <a:rPr lang="ru-RU" alt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ерсонала:</a:t>
            </a:r>
          </a:p>
          <a:p>
            <a:pPr algn="just">
              <a:buSzPct val="106000"/>
            </a:pPr>
            <a:r>
              <a:rPr lang="ru-RU" alt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2023 году - 6</a:t>
            </a:r>
            <a:r>
              <a:rPr lang="en-US" alt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</a:t>
            </a:r>
            <a:r>
              <a:rPr lang="ru-RU" alt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чел. (4,0%)</a:t>
            </a:r>
          </a:p>
          <a:p>
            <a:pPr algn="just">
              <a:buSzPct val="106000"/>
            </a:pPr>
            <a:r>
              <a:rPr lang="ru-RU" alt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</a:t>
            </a:r>
            <a:r>
              <a:rPr lang="ru-RU" alt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2 году </a:t>
            </a:r>
            <a:r>
              <a:rPr lang="ru-RU" alt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- 74 </a:t>
            </a:r>
            <a:r>
              <a:rPr lang="ru-RU" alt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чел. </a:t>
            </a:r>
            <a:r>
              <a:rPr lang="ru-RU" alt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5,5%)</a:t>
            </a:r>
          </a:p>
          <a:p>
            <a:pPr algn="just">
              <a:buSzPct val="106000"/>
            </a:pPr>
            <a:r>
              <a:rPr lang="ru-RU" alt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</a:t>
            </a:r>
            <a:r>
              <a:rPr lang="ru-RU" alt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1 году – 88 чел</a:t>
            </a:r>
            <a:r>
              <a:rPr lang="ru-RU" alt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 (6,0%)</a:t>
            </a:r>
            <a:endParaRPr lang="ru-RU" alt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" name="Диаграмма 20"/>
          <p:cNvGraphicFramePr/>
          <p:nvPr>
            <p:extLst/>
          </p:nvPr>
        </p:nvGraphicFramePr>
        <p:xfrm>
          <a:off x="232224" y="5094927"/>
          <a:ext cx="3960440" cy="1512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2" name="Прямоугольник 21"/>
          <p:cNvSpPr/>
          <p:nvPr/>
        </p:nvSpPr>
        <p:spPr>
          <a:xfrm>
            <a:off x="497395" y="4852807"/>
            <a:ext cx="2816696" cy="27699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ичины текучести</a:t>
            </a:r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114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9993854" y="165955"/>
            <a:ext cx="20631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ГРАЖДЕНИЯ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E453B66-14BE-4AAD-B3E1-5E3F57FF7D73}"/>
              </a:ext>
            </a:extLst>
          </p:cNvPr>
          <p:cNvSpPr txBox="1"/>
          <p:nvPr/>
        </p:nvSpPr>
        <p:spPr>
          <a:xfrm>
            <a:off x="11762959" y="6543278"/>
            <a:ext cx="3575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29</a:t>
            </a:r>
            <a:endParaRPr lang="ru-KZ" sz="1200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056548" y="6337157"/>
            <a:ext cx="51354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SzPct val="106000"/>
            </a:pPr>
            <a:endParaRPr lang="ru-RU" altLang="ru-RU" sz="900" b="1" u="sng" dirty="0" smtClean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Calibri" pitchFamily="34" charset="0"/>
              <a:cs typeface="Arial" panose="020B0604020202020204" pitchFamily="34" charset="0"/>
            </a:endParaRPr>
          </a:p>
          <a:p>
            <a:pPr algn="just">
              <a:buSzPct val="106000"/>
            </a:pPr>
            <a:endParaRPr lang="ru-RU" altLang="ru-RU" sz="900" b="1" u="sng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Calibri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5049632"/>
              </p:ext>
            </p:extLst>
          </p:nvPr>
        </p:nvGraphicFramePr>
        <p:xfrm>
          <a:off x="191344" y="767403"/>
          <a:ext cx="8647856" cy="57758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60514">
                  <a:extLst>
                    <a:ext uri="{9D8B030D-6E8A-4147-A177-3AD203B41FA5}">
                      <a16:colId xmlns:a16="http://schemas.microsoft.com/office/drawing/2014/main" val="3417226044"/>
                    </a:ext>
                  </a:extLst>
                </a:gridCol>
                <a:gridCol w="6690674">
                  <a:extLst>
                    <a:ext uri="{9D8B030D-6E8A-4147-A177-3AD203B41FA5}">
                      <a16:colId xmlns:a16="http://schemas.microsoft.com/office/drawing/2014/main" val="2140578805"/>
                    </a:ext>
                  </a:extLst>
                </a:gridCol>
                <a:gridCol w="757008">
                  <a:extLst>
                    <a:ext uri="{9D8B030D-6E8A-4147-A177-3AD203B41FA5}">
                      <a16:colId xmlns:a16="http://schemas.microsoft.com/office/drawing/2014/main" val="2371806535"/>
                    </a:ext>
                  </a:extLst>
                </a:gridCol>
                <a:gridCol w="739660">
                  <a:extLst>
                    <a:ext uri="{9D8B030D-6E8A-4147-A177-3AD203B41FA5}">
                      <a16:colId xmlns:a16="http://schemas.microsoft.com/office/drawing/2014/main" val="3163122533"/>
                    </a:ext>
                  </a:extLst>
                </a:gridCol>
              </a:tblGrid>
              <a:tr h="312841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900" b="1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900" b="1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Награды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022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023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8931233"/>
                  </a:ext>
                </a:extLst>
              </a:tr>
              <a:tr h="248330"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ru-RU" sz="8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RU" sz="8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Государственные награды</a:t>
                      </a:r>
                      <a:endParaRPr lang="ru-RU" sz="9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9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9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3248265"/>
                  </a:ext>
                </a:extLst>
              </a:tr>
              <a:tr h="168696">
                <a:tc vMerge="1">
                  <a:txBody>
                    <a:bodyPr/>
                    <a:lstStyle/>
                    <a:p>
                      <a:pPr algn="ctr" rtl="0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едаль «Ерен енбег</a:t>
                      </a:r>
                      <a:r>
                        <a:rPr lang="kk-KZ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і үшін</a:t>
                      </a:r>
                      <a:r>
                        <a:rPr lang="ru-RU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»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4965239"/>
                  </a:ext>
                </a:extLst>
              </a:tr>
              <a:tr h="168696">
                <a:tc rowSpan="8">
                  <a:txBody>
                    <a:bodyPr/>
                    <a:lstStyle/>
                    <a:p>
                      <a:pPr algn="ctr" rtl="0" fontAlgn="b"/>
                      <a:r>
                        <a:rPr lang="ru-RU" sz="8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RU" sz="8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аграды Министерства энергетики РК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1</a:t>
                      </a:r>
                      <a:endParaRPr lang="ru-RU" sz="9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5</a:t>
                      </a:r>
                      <a:endParaRPr lang="ru-RU" sz="9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806284"/>
                  </a:ext>
                </a:extLst>
              </a:tr>
              <a:tr h="168696">
                <a:tc vMerge="1">
                  <a:txBody>
                    <a:bodyPr/>
                    <a:lstStyle/>
                    <a:p>
                      <a:pPr algn="ctr" rtl="0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едаль "Мұнай-газ кешенін дамытуға қосқан үлесі үшін"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673395"/>
                  </a:ext>
                </a:extLst>
              </a:tr>
              <a:tr h="1686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едаль "</a:t>
                      </a:r>
                      <a:r>
                        <a:rPr lang="ru-RU" sz="900" dirty="0" err="1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ұнай</a:t>
                      </a:r>
                      <a:r>
                        <a:rPr lang="ru-RU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газ-химия </a:t>
                      </a:r>
                      <a:r>
                        <a:rPr lang="ru-RU" sz="900" dirty="0" err="1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аласын</a:t>
                      </a:r>
                      <a:r>
                        <a:rPr lang="ru-RU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dirty="0" err="1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дамытуға</a:t>
                      </a:r>
                      <a:r>
                        <a:rPr lang="ru-RU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dirty="0" err="1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қосқан</a:t>
                      </a:r>
                      <a:r>
                        <a:rPr lang="ru-RU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dirty="0" err="1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үлесі</a:t>
                      </a:r>
                      <a:r>
                        <a:rPr lang="ru-RU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dirty="0" err="1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үшін</a:t>
                      </a:r>
                      <a:r>
                        <a:rPr lang="ru-RU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"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3939647"/>
                  </a:ext>
                </a:extLst>
              </a:tr>
              <a:tr h="1686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едаль "Электр </a:t>
                      </a:r>
                      <a:r>
                        <a:rPr lang="ru-RU" sz="900" dirty="0" err="1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энергетикасы</a:t>
                      </a:r>
                      <a:r>
                        <a:rPr lang="ru-RU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dirty="0" err="1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аласына</a:t>
                      </a:r>
                      <a:r>
                        <a:rPr lang="ru-RU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dirty="0" err="1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қосқан</a:t>
                      </a:r>
                      <a:r>
                        <a:rPr lang="ru-RU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dirty="0" err="1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үлесі</a:t>
                      </a:r>
                      <a:r>
                        <a:rPr lang="ru-RU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dirty="0" err="1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үшін</a:t>
                      </a:r>
                      <a:r>
                        <a:rPr lang="ru-RU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"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5767229"/>
                  </a:ext>
                </a:extLst>
              </a:tr>
              <a:tr h="168696">
                <a:tc vMerge="1">
                  <a:txBody>
                    <a:bodyPr/>
                    <a:lstStyle/>
                    <a:p>
                      <a:pPr algn="ctr" rtl="0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агрудный знак "Мұнай-газ саласының еңбек сіңірген қызметкері"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3571656"/>
                  </a:ext>
                </a:extLst>
              </a:tr>
              <a:tr h="168696">
                <a:tc vMerge="1">
                  <a:txBody>
                    <a:bodyPr/>
                    <a:lstStyle/>
                    <a:p>
                      <a:pPr algn="ctr" rtl="0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едаль Еңбек ардагері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0329729"/>
                  </a:ext>
                </a:extLst>
              </a:tr>
              <a:tr h="168696">
                <a:tc vMerge="1">
                  <a:txBody>
                    <a:bodyPr/>
                    <a:lstStyle/>
                    <a:p>
                      <a:pPr algn="ctr" rtl="0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четная грамота МинЭнерго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6321712"/>
                  </a:ext>
                </a:extLst>
              </a:tr>
              <a:tr h="168696">
                <a:tc vMerge="1">
                  <a:txBody>
                    <a:bodyPr/>
                    <a:lstStyle/>
                    <a:p>
                      <a:pPr algn="ctr" rtl="0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Благодарственное  письмо МинЭнерго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4619028"/>
                  </a:ext>
                </a:extLst>
              </a:tr>
              <a:tr h="16869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  <a:endParaRPr lang="ru-RU" sz="8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Диплом Министерства</a:t>
                      </a:r>
                      <a:r>
                        <a:rPr lang="kk-KZ" sz="900" b="1" baseline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труда и социальной защиты</a:t>
                      </a:r>
                      <a:endParaRPr lang="ru-RU" sz="9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9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9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9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0703149"/>
                  </a:ext>
                </a:extLst>
              </a:tr>
              <a:tr h="16869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RU" sz="8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агрудный знак "Экология саласының үздігі"</a:t>
                      </a:r>
                      <a:endParaRPr lang="ru-RU" sz="9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9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9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481614"/>
                  </a:ext>
                </a:extLst>
              </a:tr>
              <a:tr h="318079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  <a:endParaRPr lang="ru-RU" sz="8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агрудный знак, </a:t>
                      </a:r>
                      <a:r>
                        <a:rPr lang="kk-KZ" sz="9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четная грамота, Благодарственное</a:t>
                      </a:r>
                      <a:r>
                        <a:rPr lang="kk-KZ" sz="900" b="1" baseline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письмо </a:t>
                      </a:r>
                      <a:r>
                        <a:rPr lang="kk-KZ" sz="9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kk-KZ" sz="9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О ФНБ Самрук-Казына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9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9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7618417"/>
                  </a:ext>
                </a:extLst>
              </a:tr>
              <a:tr h="16869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RU" sz="8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азэнерджи (медаль, почетные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грамоты и письма)</a:t>
                      </a:r>
                      <a:endParaRPr lang="ru-RU" sz="9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9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ru-RU" sz="9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7269502"/>
                  </a:ext>
                </a:extLst>
              </a:tr>
              <a:tr h="33739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  <a:endParaRPr lang="ru-RU" sz="8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ЮЛ "Ассоциации производителей и потребителей нефтегазохимической продукции" (благодарственное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письмо)</a:t>
                      </a:r>
                      <a:endParaRPr lang="ru-RU" sz="9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9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9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3614213"/>
                  </a:ext>
                </a:extLst>
              </a:tr>
              <a:tr h="168696">
                <a:tc rowSpan="4">
                  <a:txBody>
                    <a:bodyPr/>
                    <a:lstStyle/>
                    <a:p>
                      <a:pPr algn="ctr" rtl="0" fontAlgn="b"/>
                      <a:r>
                        <a:rPr lang="ru-RU" sz="8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  <a:endParaRPr lang="ru-RU" sz="8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О НК «КазМунайГаз</a:t>
                      </a:r>
                      <a:r>
                        <a:rPr lang="ru-RU" sz="9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»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ru-RU" sz="9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u-RU" sz="9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7507548"/>
                  </a:ext>
                </a:extLst>
              </a:tr>
              <a:tr h="168696">
                <a:tc vMerge="1">
                  <a:txBody>
                    <a:bodyPr/>
                    <a:lstStyle/>
                    <a:p>
                      <a:pPr algn="ctr" rtl="0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четная грамота АО НК «</a:t>
                      </a:r>
                      <a:r>
                        <a:rPr lang="kk-KZ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азМунайГаз»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9009218"/>
                  </a:ext>
                </a:extLst>
              </a:tr>
              <a:tr h="168696">
                <a:tc vMerge="1">
                  <a:txBody>
                    <a:bodyPr/>
                    <a:lstStyle/>
                    <a:p>
                      <a:pPr algn="ctr" rtl="0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амятный знак АО НК </a:t>
                      </a:r>
                      <a:r>
                        <a:rPr lang="kk-KZ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«КазМунайГаз»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2464505"/>
                  </a:ext>
                </a:extLst>
              </a:tr>
              <a:tr h="168696">
                <a:tc vMerge="1">
                  <a:txBody>
                    <a:bodyPr/>
                    <a:lstStyle/>
                    <a:p>
                      <a:pPr algn="ctr" rtl="0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Благодарственное письмо АО НК </a:t>
                      </a:r>
                      <a:r>
                        <a:rPr lang="kk-KZ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«КазМунайГаз»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9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651598"/>
                  </a:ext>
                </a:extLst>
              </a:tr>
              <a:tr h="168696">
                <a:tc rowSpan="5">
                  <a:txBody>
                    <a:bodyPr/>
                    <a:lstStyle/>
                    <a:p>
                      <a:pPr algn="ctr" rtl="0" fontAlgn="b"/>
                      <a:r>
                        <a:rPr lang="ru-RU" sz="8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  <a:endParaRPr lang="ru-RU" sz="8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кимат, маслихат  </a:t>
                      </a:r>
                      <a:r>
                        <a:rPr lang="kk-KZ" sz="9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бласти и города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ru-RU" sz="9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5</a:t>
                      </a:r>
                      <a:endParaRPr lang="ru-RU" sz="9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133420"/>
                  </a:ext>
                </a:extLst>
              </a:tr>
              <a:tr h="168696">
                <a:tc vMerge="1">
                  <a:txBody>
                    <a:bodyPr/>
                    <a:lstStyle/>
                    <a:p>
                      <a:pPr algn="ctr" rtl="0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четная </a:t>
                      </a:r>
                      <a:r>
                        <a:rPr lang="kk-KZ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грамота, Благодарственное</a:t>
                      </a:r>
                      <a:r>
                        <a:rPr lang="kk-KZ" sz="900" baseline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письмо </a:t>
                      </a:r>
                      <a:r>
                        <a:rPr lang="kk-KZ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kk-KZ" sz="9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кима области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3529291"/>
                  </a:ext>
                </a:extLst>
              </a:tr>
              <a:tr h="168696">
                <a:tc vMerge="1">
                  <a:txBody>
                    <a:bodyPr/>
                    <a:lstStyle/>
                    <a:p>
                      <a:pPr algn="ctr" rtl="0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четная </a:t>
                      </a:r>
                      <a:r>
                        <a:rPr lang="kk-KZ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грамота, Благодарственное</a:t>
                      </a:r>
                      <a:r>
                        <a:rPr lang="kk-KZ" sz="900" baseline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письмо </a:t>
                      </a:r>
                      <a:r>
                        <a:rPr lang="kk-KZ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кима </a:t>
                      </a:r>
                      <a:r>
                        <a:rPr lang="kk-KZ" sz="9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города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2845301"/>
                  </a:ext>
                </a:extLst>
              </a:tr>
              <a:tr h="168696">
                <a:tc vMerge="1">
                  <a:txBody>
                    <a:bodyPr/>
                    <a:lstStyle/>
                    <a:p>
                      <a:pPr algn="ctr" rtl="0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Благодарственное  письмо малисхата</a:t>
                      </a:r>
                      <a:r>
                        <a:rPr lang="kk-KZ" sz="900" baseline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области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9016077"/>
                  </a:ext>
                </a:extLst>
              </a:tr>
              <a:tr h="168696">
                <a:tc vMerge="1">
                  <a:txBody>
                    <a:bodyPr/>
                    <a:lstStyle/>
                    <a:p>
                      <a:pPr algn="ctr" rtl="0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Благодарственное</a:t>
                      </a:r>
                      <a:r>
                        <a:rPr lang="kk-KZ" sz="900" baseline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письмо управления труда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0063344"/>
                  </a:ext>
                </a:extLst>
              </a:tr>
              <a:tr h="168696">
                <a:tc rowSpan="5">
                  <a:txBody>
                    <a:bodyPr/>
                    <a:lstStyle/>
                    <a:p>
                      <a:pPr algn="ctr" rtl="0" fontAlgn="b"/>
                      <a:r>
                        <a:rPr lang="ru-RU" sz="8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  <a:endParaRPr lang="ru-RU" sz="8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НХЗ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7</a:t>
                      </a:r>
                      <a:endParaRPr lang="ru-RU" sz="9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7</a:t>
                      </a:r>
                      <a:endParaRPr lang="ru-RU" sz="9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2344192"/>
                  </a:ext>
                </a:extLst>
              </a:tr>
              <a:tr h="168696">
                <a:tc vMerge="1">
                  <a:txBody>
                    <a:bodyPr/>
                    <a:lstStyle/>
                    <a:p>
                      <a:pPr algn="ctr" rtl="0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четная грамота Генерального директора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1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1526242"/>
                  </a:ext>
                </a:extLst>
              </a:tr>
              <a:tr h="168696">
                <a:tc vMerge="1">
                  <a:txBody>
                    <a:bodyPr/>
                    <a:lstStyle/>
                    <a:p>
                      <a:pPr algn="ctr" rtl="0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Благодарственное письмо Генерального директора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1226320"/>
                  </a:ext>
                </a:extLst>
              </a:tr>
              <a:tr h="168696">
                <a:tc vMerge="1">
                  <a:txBody>
                    <a:bodyPr/>
                    <a:lstStyle/>
                    <a:p>
                      <a:pPr algn="ctr" rtl="0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Дипломы 1,2,3 степени </a:t>
                      </a:r>
                      <a:r>
                        <a:rPr lang="kk-KZ" sz="9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«Үздік маман»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3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114134"/>
                  </a:ext>
                </a:extLst>
              </a:tr>
              <a:tr h="168696">
                <a:tc vMerge="1">
                  <a:txBody>
                    <a:bodyPr/>
                    <a:lstStyle/>
                    <a:p>
                      <a:pPr algn="ctr" rtl="0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Доска Почета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ru-RU" sz="9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4572073"/>
                  </a:ext>
                </a:extLst>
              </a:tr>
              <a:tr h="173140">
                <a:tc>
                  <a:txBody>
                    <a:bodyPr/>
                    <a:lstStyle/>
                    <a:p>
                      <a:pPr algn="ctr" rtl="0" fontAlgn="b"/>
                      <a:endParaRPr lang="ru-RU" sz="8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  ВСЕГО:</a:t>
                      </a:r>
                      <a:endParaRPr lang="ru-RU" sz="8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36</a:t>
                      </a:r>
                      <a:endParaRPr lang="ru-RU" sz="8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58</a:t>
                      </a:r>
                      <a:endParaRPr lang="ru-RU" sz="8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3250471"/>
                  </a:ext>
                </a:extLst>
              </a:tr>
            </a:tbl>
          </a:graphicData>
        </a:graphic>
      </p:graphicFrame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6655" y="796681"/>
            <a:ext cx="2736304" cy="1780768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6655" y="2722838"/>
            <a:ext cx="2736304" cy="1824203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6655" y="4756773"/>
            <a:ext cx="2736304" cy="1824203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70" y="3586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137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5841402" y="64550"/>
            <a:ext cx="618564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ОЛНЕНИЕ ОСНОВНЫХ ПРОИЗВОДСТВЕННЫХ ПОКАЗАТЕЛЕЙ ЗА 2023 ГОД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4962092"/>
              </p:ext>
            </p:extLst>
          </p:nvPr>
        </p:nvGraphicFramePr>
        <p:xfrm>
          <a:off x="729753" y="1006362"/>
          <a:ext cx="10843308" cy="54310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51362">
                  <a:extLst>
                    <a:ext uri="{9D8B030D-6E8A-4147-A177-3AD203B41FA5}">
                      <a16:colId xmlns:a16="http://schemas.microsoft.com/office/drawing/2014/main" val="3211243061"/>
                    </a:ext>
                  </a:extLst>
                </a:gridCol>
                <a:gridCol w="2584888">
                  <a:extLst>
                    <a:ext uri="{9D8B030D-6E8A-4147-A177-3AD203B41FA5}">
                      <a16:colId xmlns:a16="http://schemas.microsoft.com/office/drawing/2014/main" val="629859277"/>
                    </a:ext>
                  </a:extLst>
                </a:gridCol>
                <a:gridCol w="2262911">
                  <a:extLst>
                    <a:ext uri="{9D8B030D-6E8A-4147-A177-3AD203B41FA5}">
                      <a16:colId xmlns:a16="http://schemas.microsoft.com/office/drawing/2014/main" val="3952526180"/>
                    </a:ext>
                  </a:extLst>
                </a:gridCol>
                <a:gridCol w="1744147">
                  <a:extLst>
                    <a:ext uri="{9D8B030D-6E8A-4147-A177-3AD203B41FA5}">
                      <a16:colId xmlns:a16="http://schemas.microsoft.com/office/drawing/2014/main" val="4033056423"/>
                    </a:ext>
                  </a:extLst>
                </a:gridCol>
              </a:tblGrid>
              <a:tr h="43846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Наименование 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План МЭ РК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Факт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Исполнение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563572"/>
                  </a:ext>
                </a:extLst>
              </a:tr>
              <a:tr h="283917">
                <a:tc vMerge="1">
                  <a:txBody>
                    <a:bodyPr/>
                    <a:lstStyle/>
                    <a:p>
                      <a:pPr algn="l" rtl="0" fontAlgn="ctr"/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482" marR="8482" marT="8482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Тонн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Тонн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%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260524"/>
                  </a:ext>
                </a:extLst>
              </a:tr>
              <a:tr h="30677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Переработка сырья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 300 00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 433 51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6214539"/>
                  </a:ext>
                </a:extLst>
              </a:tr>
              <a:tr h="1025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1" i="0" u="none" strike="noStrike" kern="1200" cap="none" spc="0" normalizeH="0" baseline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1" i="0" u="none" strike="noStrike" kern="1200" cap="none" spc="0" normalizeH="0" baseline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6236660"/>
                  </a:ext>
                </a:extLst>
              </a:tr>
              <a:tr h="25969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жиженный газ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86 84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10 867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4581063"/>
                  </a:ext>
                </a:extLst>
              </a:tr>
              <a:tr h="28885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Автобензины: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493 419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553 32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5883891"/>
                  </a:ext>
                </a:extLst>
              </a:tr>
              <a:tr h="318288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i="1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                                                                Аи-92</a:t>
                      </a:r>
                      <a:endParaRPr lang="ru-RU" sz="1400" i="1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2000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075 619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094 07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9665096"/>
                  </a:ext>
                </a:extLst>
              </a:tr>
              <a:tr h="23889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i="1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                                                                Аи-95/98</a:t>
                      </a:r>
                      <a:endParaRPr lang="ru-RU" sz="1400" i="1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2000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17 80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59 25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1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4459046"/>
                  </a:ext>
                </a:extLst>
              </a:tr>
              <a:tr h="27184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Авиатопливо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76 00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3 469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1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3820862"/>
                  </a:ext>
                </a:extLst>
              </a:tr>
              <a:tr h="24713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Дизельное топливо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688 84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827 35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2564912"/>
                  </a:ext>
                </a:extLst>
              </a:tr>
              <a:tr h="26074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Печное топливо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7 07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8017641"/>
                  </a:ext>
                </a:extLst>
              </a:tr>
              <a:tr h="254523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ырье для техуглерода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4575267"/>
                  </a:ext>
                </a:extLst>
              </a:tr>
              <a:tr h="255373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Мазут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74 009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19 47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7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0423365"/>
                  </a:ext>
                </a:extLst>
              </a:tr>
              <a:tr h="25367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Битум 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80 18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89 440,0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2196668"/>
                  </a:ext>
                </a:extLst>
              </a:tr>
              <a:tr h="24509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Кокс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43 48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60 514,0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5674796"/>
                  </a:ext>
                </a:extLst>
              </a:tr>
              <a:tr h="25452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ера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0 698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2668,0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5832028"/>
                  </a:ext>
                </a:extLst>
              </a:tr>
              <a:tr h="321276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Топливо</a:t>
                      </a:r>
                      <a:r>
                        <a:rPr lang="en-US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потери</a:t>
                      </a:r>
                      <a:r>
                        <a:rPr lang="en-US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kk-KZ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и кокс выжигаемый</a:t>
                      </a:r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, %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6007" marT="6007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7,39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,9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9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6144228"/>
                  </a:ext>
                </a:extLst>
              </a:tr>
              <a:tr h="33951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Глубина переработки, %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6007" marT="6007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6,39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9,6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6371059"/>
                  </a:ext>
                </a:extLst>
              </a:tr>
              <a:tr h="36951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Выход светлых нефтепродуктов, %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6007" marT="6007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8,78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72,0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4340641"/>
                  </a:ext>
                </a:extLst>
              </a:tr>
            </a:tbl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87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7380519" y="188640"/>
            <a:ext cx="47392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ЧЕНИЕ И РАЗВИТИЕ ПЕРСОНАЛА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0384745"/>
              </p:ext>
            </p:extLst>
          </p:nvPr>
        </p:nvGraphicFramePr>
        <p:xfrm>
          <a:off x="191344" y="980728"/>
          <a:ext cx="4864751" cy="488941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51810">
                  <a:extLst>
                    <a:ext uri="{9D8B030D-6E8A-4147-A177-3AD203B41FA5}">
                      <a16:colId xmlns:a16="http://schemas.microsoft.com/office/drawing/2014/main" val="3417226044"/>
                    </a:ext>
                  </a:extLst>
                </a:gridCol>
                <a:gridCol w="822212">
                  <a:extLst>
                    <a:ext uri="{9D8B030D-6E8A-4147-A177-3AD203B41FA5}">
                      <a16:colId xmlns:a16="http://schemas.microsoft.com/office/drawing/2014/main" val="2140578805"/>
                    </a:ext>
                  </a:extLst>
                </a:gridCol>
                <a:gridCol w="890729">
                  <a:extLst>
                    <a:ext uri="{9D8B030D-6E8A-4147-A177-3AD203B41FA5}">
                      <a16:colId xmlns:a16="http://schemas.microsoft.com/office/drawing/2014/main" val="3163122533"/>
                    </a:ext>
                  </a:extLst>
                </a:gridCol>
              </a:tblGrid>
              <a:tr h="4033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Вид обучения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За</a:t>
                      </a:r>
                      <a:r>
                        <a:rPr lang="ru-RU" sz="900" b="1" baseline="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2022 год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За </a:t>
                      </a:r>
                      <a:r>
                        <a:rPr lang="ru-RU" sz="900" b="1" baseline="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023 год</a:t>
                      </a:r>
                      <a:endParaRPr lang="ru-RU" sz="900" b="1" dirty="0" smtClean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8931233"/>
                  </a:ext>
                </a:extLst>
              </a:tr>
              <a:tr h="2981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овышение квалификации,</a:t>
                      </a:r>
                      <a:r>
                        <a:rPr lang="ru-RU" sz="1200" b="1" baseline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в том числе:</a:t>
                      </a:r>
                      <a:endParaRPr lang="ru-RU" sz="12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438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866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4965239"/>
                  </a:ext>
                </a:extLst>
              </a:tr>
              <a:tr h="36827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Рабочего персонала</a:t>
                      </a:r>
                      <a:endParaRPr lang="ru-RU" sz="1200" b="0" i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167</a:t>
                      </a:r>
                      <a:endParaRPr lang="ru-RU" sz="1200" b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249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182519"/>
                  </a:ext>
                </a:extLst>
              </a:tr>
              <a:tr h="29815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РСС</a:t>
                      </a:r>
                      <a:endParaRPr lang="ru-RU" sz="1200" b="0" i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271</a:t>
                      </a:r>
                      <a:endParaRPr lang="ru-RU" sz="1200" b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617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858613"/>
                  </a:ext>
                </a:extLst>
              </a:tr>
              <a:tr h="6063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одготовка/переподготовка по промышленной</a:t>
                      </a:r>
                      <a:r>
                        <a:rPr lang="ru-RU" sz="1200" b="1" baseline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безопасности</a:t>
                      </a:r>
                      <a:endParaRPr lang="ru-RU" sz="12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/>
                      <a:r>
                        <a:rPr lang="ru-RU" sz="12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464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1578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4806284"/>
                  </a:ext>
                </a:extLst>
              </a:tr>
              <a:tr h="60633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Обучение</a:t>
                      </a:r>
                      <a:r>
                        <a:rPr lang="ru-RU" sz="1200" b="1" baseline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с использованием тренажерных комплексов </a:t>
                      </a:r>
                      <a:endParaRPr lang="ru-RU" sz="12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286</a:t>
                      </a:r>
                      <a:endParaRPr lang="ru-RU" sz="12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1956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9881379"/>
                  </a:ext>
                </a:extLst>
              </a:tr>
              <a:tr h="60633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Обучение персонала</a:t>
                      </a:r>
                      <a:r>
                        <a:rPr lang="ru-RU" sz="1200" b="1" baseline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 в рамках реализации проекта </a:t>
                      </a:r>
                      <a:r>
                        <a:rPr lang="ru-RU" sz="12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АМАН (работы на высоте)</a:t>
                      </a:r>
                      <a:endParaRPr lang="ru-RU" sz="12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815</a:t>
                      </a:r>
                      <a:endParaRPr lang="ru-RU" sz="12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597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9642412"/>
                  </a:ext>
                </a:extLst>
              </a:tr>
              <a:tr h="40335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Обучение «Культура безопасности»</a:t>
                      </a:r>
                      <a:endParaRPr lang="ru-RU" sz="12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2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1375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2661083"/>
                  </a:ext>
                </a:extLst>
              </a:tr>
              <a:tr h="3270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Обучение «Оценка рисков»</a:t>
                      </a:r>
                      <a:endParaRPr lang="ru-RU" sz="12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2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1040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0939"/>
                  </a:ext>
                </a:extLst>
              </a:tr>
              <a:tr h="32899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Всего обучено персонала:</a:t>
                      </a:r>
                      <a:endParaRPr lang="ru-RU" sz="1200" b="1" i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4003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7412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5350243"/>
                  </a:ext>
                </a:extLst>
              </a:tr>
              <a:tr h="4960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Расходы на обучение</a:t>
                      </a:r>
                      <a:r>
                        <a:rPr lang="ru-RU" sz="1200" baseline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персонала, тыс. тенге</a:t>
                      </a:r>
                      <a:endParaRPr lang="ru-RU" sz="12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1 655, 65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51046,51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882285"/>
                  </a:ext>
                </a:extLst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191344" y="5970502"/>
            <a:ext cx="511256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93663" algn="just">
              <a:tabLst>
                <a:tab pos="266700" algn="l"/>
                <a:tab pos="534988" algn="l"/>
              </a:tabLst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Увеличение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обусловлено полным снятием ограничений, связанных с пандемией и возобновлением проведения обучающих мероприятий в полном 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объеме</a:t>
            </a:r>
            <a:endParaRPr lang="ru-RU" sz="1100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8715581"/>
              </p:ext>
            </p:extLst>
          </p:nvPr>
        </p:nvGraphicFramePr>
        <p:xfrm>
          <a:off x="5663952" y="980729"/>
          <a:ext cx="6264694" cy="408608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1216">
                  <a:extLst>
                    <a:ext uri="{9D8B030D-6E8A-4147-A177-3AD203B41FA5}">
                      <a16:colId xmlns:a16="http://schemas.microsoft.com/office/drawing/2014/main" val="3417226044"/>
                    </a:ext>
                  </a:extLst>
                </a:gridCol>
                <a:gridCol w="2099396">
                  <a:extLst>
                    <a:ext uri="{9D8B030D-6E8A-4147-A177-3AD203B41FA5}">
                      <a16:colId xmlns:a16="http://schemas.microsoft.com/office/drawing/2014/main" val="1314567947"/>
                    </a:ext>
                  </a:extLst>
                </a:gridCol>
                <a:gridCol w="901795">
                  <a:extLst>
                    <a:ext uri="{9D8B030D-6E8A-4147-A177-3AD203B41FA5}">
                      <a16:colId xmlns:a16="http://schemas.microsoft.com/office/drawing/2014/main" val="99767641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3089034396"/>
                    </a:ext>
                  </a:extLst>
                </a:gridCol>
                <a:gridCol w="451686">
                  <a:extLst>
                    <a:ext uri="{9D8B030D-6E8A-4147-A177-3AD203B41FA5}">
                      <a16:colId xmlns:a16="http://schemas.microsoft.com/office/drawing/2014/main" val="2967034653"/>
                    </a:ext>
                  </a:extLst>
                </a:gridCol>
                <a:gridCol w="569517">
                  <a:extLst>
                    <a:ext uri="{9D8B030D-6E8A-4147-A177-3AD203B41FA5}">
                      <a16:colId xmlns:a16="http://schemas.microsoft.com/office/drawing/2014/main" val="824787404"/>
                    </a:ext>
                  </a:extLst>
                </a:gridCol>
                <a:gridCol w="562782">
                  <a:extLst>
                    <a:ext uri="{9D8B030D-6E8A-4147-A177-3AD203B41FA5}">
                      <a16:colId xmlns:a16="http://schemas.microsoft.com/office/drawing/2014/main" val="2140578805"/>
                    </a:ext>
                  </a:extLst>
                </a:gridCol>
                <a:gridCol w="576254">
                  <a:extLst>
                    <a:ext uri="{9D8B030D-6E8A-4147-A177-3AD203B41FA5}">
                      <a16:colId xmlns:a16="http://schemas.microsoft.com/office/drawing/2014/main" val="3163122533"/>
                    </a:ext>
                  </a:extLst>
                </a:gridCol>
              </a:tblGrid>
              <a:tr h="466672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роизв. комплекс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Наименование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установки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Дата ввода в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эксплуатацию КТК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Количество  работников прошедших тренинги  на КТК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1" i="0" u="none" strike="noStrike" dirty="0" smtClean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1" i="0" u="none" strike="noStrike" dirty="0" smtClean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="1" dirty="0" smtClean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8931233"/>
                  </a:ext>
                </a:extLst>
              </a:tr>
              <a:tr h="589544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="1" dirty="0" smtClean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="1" dirty="0" smtClean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019 </a:t>
                      </a:r>
                      <a:endParaRPr lang="ru-RU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год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020 </a:t>
                      </a:r>
                      <a:endParaRPr lang="ru-RU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год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021 </a:t>
                      </a:r>
                    </a:p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год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022</a:t>
                      </a:r>
                    </a:p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год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023 </a:t>
                      </a:r>
                    </a:p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год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965239"/>
                  </a:ext>
                </a:extLst>
              </a:tr>
              <a:tr h="413667">
                <a:tc>
                  <a:txBody>
                    <a:bodyPr/>
                    <a:lstStyle/>
                    <a:p>
                      <a:pPr marL="0" algn="l" rtl="0" fontAlgn="ctr"/>
                      <a:r>
                        <a:rPr lang="ru-RU" sz="1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ПТНО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Установка замедленного</a:t>
                      </a:r>
                      <a:r>
                        <a:rPr lang="ru-RU" sz="10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коксования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06.12.2019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96 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29 </a:t>
                      </a:r>
                      <a:endParaRPr lang="ru-RU" sz="1000" b="0" i="0" u="none" strike="noStrike" dirty="0" smtClean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90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303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311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182519"/>
                  </a:ext>
                </a:extLst>
              </a:tr>
              <a:tr h="413667">
                <a:tc>
                  <a:txBody>
                    <a:bodyPr/>
                    <a:lstStyle/>
                    <a:p>
                      <a:pPr marL="0" algn="l" rtl="0" fontAlgn="ctr"/>
                      <a:r>
                        <a:rPr lang="ru-RU" sz="1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СН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Установка</a:t>
                      </a:r>
                      <a:r>
                        <a:rPr lang="ru-RU" sz="10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изомеризации и сплиттера нафты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7.02.2020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05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83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59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45</a:t>
                      </a:r>
                    </a:p>
                    <a:p>
                      <a:pPr algn="ctr" rtl="0" fontAlgn="ctr"/>
                      <a:endParaRPr lang="ru-RU" sz="1000" b="0" i="0" u="none" strike="noStrike" dirty="0" smtClean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9658514"/>
                  </a:ext>
                </a:extLst>
              </a:tr>
              <a:tr h="413667">
                <a:tc rowSpan="4">
                  <a:txBody>
                    <a:bodyPr/>
                    <a:lstStyle/>
                    <a:p>
                      <a:pPr marL="0" algn="l" rtl="0" fontAlgn="ctr"/>
                      <a:r>
                        <a:rPr lang="ru-RU" sz="1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ППН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Установка по первичной переработке нефти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4 кв. 2022 г.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17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34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70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235257"/>
                  </a:ext>
                </a:extLst>
              </a:tr>
              <a:tr h="280004">
                <a:tc vMerge="1">
                  <a:txBody>
                    <a:bodyPr/>
                    <a:lstStyle/>
                    <a:p>
                      <a:pPr marL="180000" algn="l" rtl="0" fontAlgn="ctr"/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Установка кат. риформинга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4 кв. 2022 г.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31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64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82629"/>
                  </a:ext>
                </a:extLst>
              </a:tr>
              <a:tr h="413667">
                <a:tc vMerge="1">
                  <a:txBody>
                    <a:bodyPr/>
                    <a:lstStyle/>
                    <a:p>
                      <a:pPr marL="180000" algn="l" rtl="0" fontAlgn="ctr"/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Установка гидроочистки дизельного </a:t>
                      </a:r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топлива </a:t>
                      </a:r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и керосина</a:t>
                      </a: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31.12.2020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13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87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3434578"/>
                  </a:ext>
                </a:extLst>
              </a:tr>
              <a:tr h="413667">
                <a:tc vMerge="1">
                  <a:txBody>
                    <a:bodyPr/>
                    <a:lstStyle/>
                    <a:p>
                      <a:pPr marL="0" algn="ctr" rtl="0" fontAlgn="ctr"/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Установка газофракционирования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4 кв. 2022 г.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 smtClean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02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7810880"/>
                  </a:ext>
                </a:extLst>
              </a:tr>
              <a:tr h="280004">
                <a:tc>
                  <a:txBody>
                    <a:bodyPr/>
                    <a:lstStyle/>
                    <a:p>
                      <a:pPr marL="0" algn="l" rtl="0" fontAlgn="ctr"/>
                      <a:r>
                        <a:rPr lang="ru-RU" sz="1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СиОЗХ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Установка производства серы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4 кв. 2021 г.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48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446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502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858613"/>
                  </a:ext>
                </a:extLst>
              </a:tr>
              <a:tr h="40152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ВСЕГО: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000" b="1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96</a:t>
                      </a:r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34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038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286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956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4806284"/>
                  </a:ext>
                </a:extLst>
              </a:tr>
            </a:tbl>
          </a:graphicData>
        </a:graphic>
      </p:graphicFrame>
      <p:sp>
        <p:nvSpPr>
          <p:cNvPr id="14" name="Прямоугольник 13"/>
          <p:cNvSpPr/>
          <p:nvPr/>
        </p:nvSpPr>
        <p:spPr>
          <a:xfrm>
            <a:off x="191344" y="692696"/>
            <a:ext cx="4595953" cy="27699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бучение и развитие персонала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591944" y="692696"/>
            <a:ext cx="4595953" cy="27699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бучение на компьютерных тренажерных комплексах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5794130" y="5343806"/>
            <a:ext cx="613451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звитие талантов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794130" y="5620805"/>
            <a:ext cx="6215318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93663" algn="just">
              <a:tabLst>
                <a:tab pos="266700" algn="l"/>
                <a:tab pos="534988" algn="l"/>
              </a:tabLst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Ежегодно на ПНХЗ проводятся конкурсы, способствующие выявлению и развитию талантливых кадров: «Үздік маман», «Лучший технолог», «Лучшее технологическое решение», «Лучшее новаторское решение», «Лучшее производство», «Лучшая бригада». Также работники активно принимают участие в областных и республиканских конкурсах «Еңбек жолы», «Премия Ертіс Дарыны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»</a:t>
            </a:r>
            <a:endParaRPr lang="ru-RU" sz="1100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70" y="35860"/>
            <a:ext cx="2276468" cy="578763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498265" y="6559524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0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1648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471681" y="6467617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1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7480314" y="46782"/>
            <a:ext cx="47116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СЦИПЛИНАРНЫЕ ВЗЫСКАНИЯ / НАГРАЖДЕНИЕ РАБОТНИКОВ</a:t>
            </a: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3748599"/>
              </p:ext>
            </p:extLst>
          </p:nvPr>
        </p:nvGraphicFramePr>
        <p:xfrm>
          <a:off x="289445" y="1018785"/>
          <a:ext cx="6568555" cy="138046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1032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3022">
                  <a:extLst>
                    <a:ext uri="{9D8B030D-6E8A-4147-A177-3AD203B41FA5}">
                      <a16:colId xmlns:a16="http://schemas.microsoft.com/office/drawing/2014/main" val="4285971451"/>
                    </a:ext>
                  </a:extLst>
                </a:gridCol>
                <a:gridCol w="11777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7881">
                  <a:extLst>
                    <a:ext uri="{9D8B030D-6E8A-4147-A177-3AD203B41FA5}">
                      <a16:colId xmlns:a16="http://schemas.microsoft.com/office/drawing/2014/main" val="2319281994"/>
                    </a:ext>
                  </a:extLst>
                </a:gridCol>
                <a:gridCol w="636645">
                  <a:extLst>
                    <a:ext uri="{9D8B030D-6E8A-4147-A177-3AD203B41FA5}">
                      <a16:colId xmlns:a16="http://schemas.microsoft.com/office/drawing/2014/main" val="1177953661"/>
                    </a:ext>
                  </a:extLst>
                </a:gridCol>
              </a:tblGrid>
              <a:tr h="251853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Виды </a:t>
                      </a: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дисциплинарных</a:t>
                      </a:r>
                      <a:r>
                        <a:rPr lang="ru-RU" sz="1200" b="1" baseline="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взысканий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2021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2022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2023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4245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    </a:t>
                      </a: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оличество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00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Замечание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12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3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14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084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Выговор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5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11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11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200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трогий выговор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4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11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1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943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Всего за год:</a:t>
                      </a:r>
                      <a:endParaRPr lang="ru-RU" sz="12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26</a:t>
                      </a:r>
                      <a:endParaRPr lang="ru-RU" sz="1200" b="1" dirty="0" smtClean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21" name="Диаграмма 20"/>
          <p:cNvGraphicFramePr/>
          <p:nvPr>
            <p:extLst>
              <p:ext uri="{D42A27DB-BD31-4B8C-83A1-F6EECF244321}">
                <p14:modId xmlns:p14="http://schemas.microsoft.com/office/powerpoint/2010/main" val="2456481192"/>
              </p:ext>
            </p:extLst>
          </p:nvPr>
        </p:nvGraphicFramePr>
        <p:xfrm>
          <a:off x="367541" y="2427812"/>
          <a:ext cx="9663877" cy="2829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2" name="Скругленный прямоугольник 21"/>
          <p:cNvSpPr/>
          <p:nvPr/>
        </p:nvSpPr>
        <p:spPr>
          <a:xfrm>
            <a:off x="367541" y="4949107"/>
            <a:ext cx="9163734" cy="1657010"/>
          </a:xfrm>
          <a:prstGeom prst="round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целом за  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</a:t>
            </a:r>
            <a:r>
              <a:rPr lang="en-US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од  работниками предприятия допущено </a:t>
            </a: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</a:t>
            </a:r>
            <a:r>
              <a:rPr lang="en-US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</a:t>
            </a: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рушений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м числе:  </a:t>
            </a:r>
          </a:p>
          <a:p>
            <a:pPr algn="just"/>
            <a:r>
              <a:rPr lang="en-US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2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- 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рушений 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орм Порядка осуществления закупок АО ФНБ «Самрук-Казына», </a:t>
            </a:r>
          </a:p>
          <a:p>
            <a:pPr algn="just"/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</a:t>
            </a:r>
            <a:r>
              <a:rPr lang="en-US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4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– нарушений за 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енадлежащее исполнение должностных обязанностей.</a:t>
            </a:r>
          </a:p>
          <a:p>
            <a:pPr algn="just"/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 сравнению  с 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</a:t>
            </a:r>
            <a:r>
              <a:rPr lang="en-US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одом количество нарушений в 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</a:t>
            </a:r>
            <a:r>
              <a:rPr lang="en-US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оду 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величилось 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 </a:t>
            </a:r>
            <a:r>
              <a:rPr lang="en-US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  <a:endParaRPr lang="ru-RU" sz="1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367541" y="693113"/>
            <a:ext cx="427373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РУШЕНИЯ</a:t>
            </a:r>
            <a:endParaRPr lang="ru-RU" sz="1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6543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2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0198231"/>
              </p:ext>
            </p:extLst>
          </p:nvPr>
        </p:nvGraphicFramePr>
        <p:xfrm>
          <a:off x="222999" y="1176038"/>
          <a:ext cx="5971856" cy="3491542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1492964">
                  <a:extLst>
                    <a:ext uri="{9D8B030D-6E8A-4147-A177-3AD203B41FA5}">
                      <a16:colId xmlns:a16="http://schemas.microsoft.com/office/drawing/2014/main" val="1172441033"/>
                    </a:ext>
                  </a:extLst>
                </a:gridCol>
                <a:gridCol w="1492964">
                  <a:extLst>
                    <a:ext uri="{9D8B030D-6E8A-4147-A177-3AD203B41FA5}">
                      <a16:colId xmlns:a16="http://schemas.microsoft.com/office/drawing/2014/main" val="1291402193"/>
                    </a:ext>
                  </a:extLst>
                </a:gridCol>
                <a:gridCol w="1492964">
                  <a:extLst>
                    <a:ext uri="{9D8B030D-6E8A-4147-A177-3AD203B41FA5}">
                      <a16:colId xmlns:a16="http://schemas.microsoft.com/office/drawing/2014/main" val="129850711"/>
                    </a:ext>
                  </a:extLst>
                </a:gridCol>
                <a:gridCol w="1492964">
                  <a:extLst>
                    <a:ext uri="{9D8B030D-6E8A-4147-A177-3AD203B41FA5}">
                      <a16:colId xmlns:a16="http://schemas.microsoft.com/office/drawing/2014/main" val="2715494859"/>
                    </a:ext>
                  </a:extLst>
                </a:gridCol>
              </a:tblGrid>
              <a:tr h="37653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МИНАЦИЯ </a:t>
                      </a:r>
                      <a:endParaRPr lang="ru-RU" sz="9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место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место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место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2300058"/>
                  </a:ext>
                </a:extLst>
              </a:tr>
              <a:tr h="623001">
                <a:tc>
                  <a:txBody>
                    <a:bodyPr/>
                    <a:lstStyle/>
                    <a:p>
                      <a:pPr marL="72000"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Лучший оператор технологических установок»</a:t>
                      </a:r>
                      <a:endParaRPr lang="ru-RU" sz="900" b="1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бенко Антон, </a:t>
                      </a:r>
                      <a:endParaRPr lang="en-US" sz="105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ППН </a:t>
                      </a:r>
                      <a:endParaRPr lang="ru-RU" sz="105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Хайрутдинов</a:t>
                      </a: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Олег, </a:t>
                      </a:r>
                      <a:endParaRPr lang="en-US" sz="105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ГПН</a:t>
                      </a:r>
                      <a:endParaRPr lang="ru-RU" sz="105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ұрмәди</a:t>
                      </a: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Батырбек</a:t>
                      </a: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</a:t>
                      </a:r>
                      <a:endParaRPr lang="en-US" sz="105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ГПН</a:t>
                      </a:r>
                      <a:endParaRPr lang="ru-RU" sz="105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7705165"/>
                  </a:ext>
                </a:extLst>
              </a:tr>
              <a:tr h="623001">
                <a:tc>
                  <a:txBody>
                    <a:bodyPr/>
                    <a:lstStyle/>
                    <a:p>
                      <a:pPr marL="72000"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«Лучший оператор товарный»</a:t>
                      </a:r>
                      <a:endParaRPr lang="ru-RU" sz="900" b="1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ексеев Антон,</a:t>
                      </a:r>
                      <a:r>
                        <a:rPr lang="ru-RU" sz="105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50" baseline="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СН</a:t>
                      </a:r>
                      <a:endParaRPr lang="ru-RU" sz="105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Жусупбаев</a:t>
                      </a: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Мирас, ПКОН</a:t>
                      </a:r>
                      <a:endParaRPr lang="ru-RU" sz="105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Шалдыбаев</a:t>
                      </a: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рлан</a:t>
                      </a: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</a:t>
                      </a:r>
                      <a:endParaRPr lang="en-US" sz="105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СН</a:t>
                      </a:r>
                      <a:endParaRPr lang="ru-RU" sz="105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220980"/>
                  </a:ext>
                </a:extLst>
              </a:tr>
              <a:tr h="623001">
                <a:tc>
                  <a:txBody>
                    <a:bodyPr/>
                    <a:lstStyle/>
                    <a:p>
                      <a:pPr marL="72000"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Лучший машинист технологических насосов»</a:t>
                      </a:r>
                      <a:endParaRPr lang="ru-RU" sz="900" b="1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ващенко</a:t>
                      </a:r>
                      <a:r>
                        <a:rPr lang="ru-RU" sz="105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лександр,</a:t>
                      </a:r>
                      <a:endParaRPr lang="en-US" sz="1050" baseline="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aseline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СиОЗХ</a:t>
                      </a:r>
                      <a:endParaRPr lang="ru-RU" sz="105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Лучининов</a:t>
                      </a: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Александр,</a:t>
                      </a:r>
                      <a:r>
                        <a:rPr lang="ru-RU" sz="105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ППТНО</a:t>
                      </a:r>
                      <a:endParaRPr lang="ru-RU" sz="105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ауман</a:t>
                      </a: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Александр, ПППН</a:t>
                      </a:r>
                      <a:endParaRPr lang="ru-RU" sz="105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8607140"/>
                  </a:ext>
                </a:extLst>
              </a:tr>
              <a:tr h="623001">
                <a:tc>
                  <a:txBody>
                    <a:bodyPr/>
                    <a:lstStyle/>
                    <a:p>
                      <a:pPr marL="72000"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Лучший машинист компрессорных установок»</a:t>
                      </a:r>
                      <a:endParaRPr lang="ru-RU" sz="900" b="1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мухаметов</a:t>
                      </a: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рат</a:t>
                      </a: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05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ППН</a:t>
                      </a:r>
                      <a:endParaRPr lang="ru-RU" sz="105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Быченко Максим,</a:t>
                      </a:r>
                      <a:r>
                        <a:rPr lang="ru-RU" sz="105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50" baseline="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720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ГПН</a:t>
                      </a:r>
                      <a:endParaRPr lang="ru-RU" sz="105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асымов</a:t>
                      </a: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Дамир,</a:t>
                      </a:r>
                      <a:r>
                        <a:rPr lang="ru-RU" sz="105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50" baseline="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720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ГПН</a:t>
                      </a:r>
                      <a:endParaRPr lang="ru-RU" sz="105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0226132"/>
                  </a:ext>
                </a:extLst>
              </a:tr>
              <a:tr h="623001">
                <a:tc>
                  <a:txBody>
                    <a:bodyPr/>
                    <a:lstStyle/>
                    <a:p>
                      <a:pPr marL="72000"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Лучший лаборант химического анализа»</a:t>
                      </a:r>
                      <a:endParaRPr lang="ru-RU" sz="900" b="1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вк Дарья,</a:t>
                      </a:r>
                      <a:r>
                        <a:rPr lang="ru-RU" sz="105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н. лаборатория</a:t>
                      </a:r>
                      <a:endParaRPr lang="ru-RU" sz="105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акаренко Мария, </a:t>
                      </a:r>
                    </a:p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ан. лаборатория </a:t>
                      </a:r>
                      <a:endParaRPr lang="ru-RU" sz="105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мангельді</a:t>
                      </a: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Ботагөз</a:t>
                      </a: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Сан. лаборатория</a:t>
                      </a:r>
                      <a:endParaRPr lang="ru-RU" sz="105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412176"/>
                  </a:ext>
                </a:extLst>
              </a:tr>
            </a:tbl>
          </a:graphicData>
        </a:graphic>
      </p:graphicFrame>
      <p:pic>
        <p:nvPicPr>
          <p:cNvPr id="17" name="Объект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986933" y="4969038"/>
            <a:ext cx="1846477" cy="1515624"/>
          </a:xfrm>
          <a:prstGeom prst="rect">
            <a:avLst/>
          </a:prstGeom>
        </p:spPr>
      </p:pic>
      <p:pic>
        <p:nvPicPr>
          <p:cNvPr id="18" name="Объект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7811" y="5027189"/>
            <a:ext cx="1846478" cy="1384859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572262" y="5017986"/>
            <a:ext cx="1836965" cy="1408216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462979" y="5073252"/>
            <a:ext cx="1834260" cy="1307197"/>
          </a:xfrm>
          <a:prstGeom prst="rect">
            <a:avLst/>
          </a:prstGeom>
        </p:spPr>
      </p:pic>
      <p:sp>
        <p:nvSpPr>
          <p:cNvPr id="26" name="Прямоугольник 25"/>
          <p:cNvSpPr/>
          <p:nvPr/>
        </p:nvSpPr>
        <p:spPr>
          <a:xfrm>
            <a:off x="223001" y="683594"/>
            <a:ext cx="5354015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</a:t>
            </a: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этап конкурса «ҮЗДІК МАМАН»</a:t>
            </a:r>
            <a:r>
              <a:rPr lang="kk-KZ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endParaRPr lang="en-US" sz="14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0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преля </a:t>
            </a:r>
            <a:r>
              <a:rPr lang="en-US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-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02 июня 2023 года </a:t>
            </a:r>
            <a:endParaRPr lang="ru-RU" sz="11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6086164" y="753170"/>
            <a:ext cx="6113484" cy="7925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</a:t>
            </a:r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этап конкурса «ҮЗДІК МАМАН»</a:t>
            </a:r>
            <a:r>
              <a:rPr lang="kk-KZ" sz="12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endParaRPr lang="ru-RU" sz="12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kk-KZ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еди ДЗО АО НК «КазМунайГаз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 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на баз</a:t>
            </a:r>
            <a:r>
              <a:rPr lang="kk-KZ" sz="11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е 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АО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«</a:t>
            </a:r>
            <a:r>
              <a:rPr lang="ru-RU" sz="1100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Каражанбасмунай</a:t>
            </a:r>
            <a:r>
              <a:rPr lang="ru-RU" sz="1100" b="1" dirty="0" smtClean="0">
                <a:solidFill>
                  <a:srgbClr val="002060"/>
                </a:solidFill>
              </a:rPr>
              <a:t>», г. Актау</a:t>
            </a:r>
            <a:endParaRPr lang="ru-RU" sz="1200" b="1" dirty="0" smtClean="0">
              <a:solidFill>
                <a:srgbClr val="002060"/>
              </a:solidFill>
            </a:endParaRPr>
          </a:p>
          <a:p>
            <a:pPr algn="ctr"/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4 -17 сентября  2023 </a:t>
            </a:r>
            <a:r>
              <a:rPr lang="ru-RU" sz="105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ода</a:t>
            </a:r>
          </a:p>
          <a:p>
            <a:pPr algn="ctr"/>
            <a:r>
              <a:rPr lang="ru-RU" sz="105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Иващенко Александр Олегович </a:t>
            </a:r>
            <a:r>
              <a:rPr lang="ru-RU" sz="105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нял</a:t>
            </a:r>
            <a:r>
              <a:rPr lang="ru-RU" sz="105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1 место </a:t>
            </a:r>
            <a:r>
              <a:rPr lang="ru-RU" sz="105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номинации «Лучший машинист т/н»</a:t>
            </a:r>
            <a:endParaRPr lang="ru-RU" sz="105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98" name="Picture 2" descr="4050134b-b223-49d6-b587-511d1c3531f5@PNHZ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30"/>
          <a:stretch/>
        </p:blipFill>
        <p:spPr bwMode="auto">
          <a:xfrm>
            <a:off x="6414653" y="1738046"/>
            <a:ext cx="2473109" cy="1625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Прямоугольник 29"/>
          <p:cNvSpPr/>
          <p:nvPr/>
        </p:nvSpPr>
        <p:spPr>
          <a:xfrm>
            <a:off x="5866786" y="3556353"/>
            <a:ext cx="666093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нкурс </a:t>
            </a:r>
            <a:r>
              <a:rPr lang="ru-RU" sz="105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проф. мастерства 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«Лучший по профессии - </a:t>
            </a:r>
            <a:r>
              <a:rPr lang="ru-RU" sz="105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2023» 28-30 августа 2023 года</a:t>
            </a:r>
            <a:endParaRPr lang="ru-RU" sz="105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16208" y="5301033"/>
            <a:ext cx="2313040" cy="134905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8"/>
          <a:srcRect t="8245"/>
          <a:stretch/>
        </p:blipFill>
        <p:spPr>
          <a:xfrm>
            <a:off x="6716226" y="5301033"/>
            <a:ext cx="2415630" cy="1349056"/>
          </a:xfrm>
          <a:prstGeom prst="rect">
            <a:avLst/>
          </a:prstGeom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3517359"/>
              </p:ext>
            </p:extLst>
          </p:nvPr>
        </p:nvGraphicFramePr>
        <p:xfrm>
          <a:off x="6414653" y="3799600"/>
          <a:ext cx="5673881" cy="15014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53070">
                  <a:extLst>
                    <a:ext uri="{9D8B030D-6E8A-4147-A177-3AD203B41FA5}">
                      <a16:colId xmlns:a16="http://schemas.microsoft.com/office/drawing/2014/main" val="2620474692"/>
                    </a:ext>
                  </a:extLst>
                </a:gridCol>
                <a:gridCol w="3620811">
                  <a:extLst>
                    <a:ext uri="{9D8B030D-6E8A-4147-A177-3AD203B41FA5}">
                      <a16:colId xmlns:a16="http://schemas.microsoft.com/office/drawing/2014/main" val="17906614"/>
                    </a:ext>
                  </a:extLst>
                </a:gridCol>
              </a:tblGrid>
              <a:tr h="220375"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ГАНИЗАТОР</a:t>
                      </a:r>
                      <a:endParaRPr lang="ru-RU" sz="105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О «Газпром нефть» </a:t>
                      </a:r>
                      <a:endParaRPr lang="ru-RU" sz="105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3384823"/>
                  </a:ext>
                </a:extLst>
              </a:tr>
              <a:tr h="220375">
                <a:tc>
                  <a:txBody>
                    <a:bodyPr/>
                    <a:lstStyle/>
                    <a:p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СТО ПРОВЕДЕНИЯ</a:t>
                      </a:r>
                      <a:endParaRPr lang="ru-RU" sz="105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О «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азпромнефть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— Омский НПЗ», г. Омск, Россия</a:t>
                      </a:r>
                      <a:endParaRPr lang="ru-RU" sz="105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1246236"/>
                  </a:ext>
                </a:extLst>
              </a:tr>
              <a:tr h="500852">
                <a:tc>
                  <a:txBody>
                    <a:bodyPr/>
                    <a:lstStyle/>
                    <a:p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АСТНИКИ</a:t>
                      </a:r>
                      <a:endParaRPr lang="ru-RU" sz="105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О «Газпром нефть», ПАО «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лавнефть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ЯНОС»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О «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бур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холдинг», </a:t>
                      </a:r>
                      <a:r>
                        <a:rPr lang="en-US" sz="1050" b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S (</a:t>
                      </a:r>
                      <a:r>
                        <a:rPr lang="kk-KZ" sz="1050" b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рбия),</a:t>
                      </a:r>
                      <a:r>
                        <a:rPr lang="kk-KZ" sz="1050" b="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АО «Татнефть»,</a:t>
                      </a:r>
                      <a:r>
                        <a:rPr lang="en-US" sz="1050" b="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О «АНПЗ»</a:t>
                      </a: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8879361"/>
                  </a:ext>
                </a:extLst>
              </a:tr>
              <a:tr h="427013">
                <a:tc>
                  <a:txBody>
                    <a:bodyPr/>
                    <a:lstStyle/>
                    <a:p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наши достижения</a:t>
                      </a:r>
                      <a:endParaRPr lang="ru-RU" sz="105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Быченко Максим, машинист к-у ПГПН – 4 место</a:t>
                      </a:r>
                    </a:p>
                    <a:p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айрутдинов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лег, оператор т-у ПГПН– 4 место</a:t>
                      </a:r>
                      <a:endParaRPr lang="ru-RU" sz="105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1225750"/>
                  </a:ext>
                </a:extLst>
              </a:tr>
            </a:tbl>
          </a:graphicData>
        </a:graphic>
      </p:graphicFrame>
      <p:pic>
        <p:nvPicPr>
          <p:cNvPr id="4" name="Picture 2" descr="1b7ae1c9-8fa4-43bb-b729-6f85830ad087@PNHZ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29591" r="16337" b="23452"/>
          <a:stretch/>
        </p:blipFill>
        <p:spPr bwMode="auto">
          <a:xfrm>
            <a:off x="9453050" y="1744871"/>
            <a:ext cx="2163636" cy="1619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70" y="3586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75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19600" y="6530394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3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5659862" y="197762"/>
            <a:ext cx="65321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Я СОВЕТА ПО ДЕЛАМ МОЛОДЕЖИ  </a:t>
            </a:r>
          </a:p>
        </p:txBody>
      </p:sp>
      <p:pic>
        <p:nvPicPr>
          <p:cNvPr id="14" name="Picture 2" descr="C:\Users\c11-ILAB-IT2\Desktop\Совет молодежи\Лого МС\Лого_ЖасМамандарКенес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40" y="689142"/>
            <a:ext cx="1403648" cy="80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52" name="TextBox 51"/>
          <p:cNvSpPr txBox="1"/>
          <p:nvPr/>
        </p:nvSpPr>
        <p:spPr>
          <a:xfrm>
            <a:off x="889181" y="3355032"/>
            <a:ext cx="254293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8 марта – участие в организации празднования в честь «Международного женского дня»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823324" y="5976396"/>
            <a:ext cx="257060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2 марта – помощь в организации мероприятия «</a:t>
            </a:r>
            <a:r>
              <a:rPr lang="ru-RU" sz="10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урыз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3» на набережной г. Павлодар.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4427112" y="2351329"/>
            <a:ext cx="24782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7 апреля участие в мероприятии на ТОО «ПНХЗ» в рамках молодежного движения группы фонда АО «</a:t>
            </a:r>
            <a:r>
              <a:rPr lang="ru-RU" sz="10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амрук-Казына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.</a:t>
            </a:r>
          </a:p>
        </p:txBody>
      </p:sp>
      <p:pic>
        <p:nvPicPr>
          <p:cNvPr id="65" name="Picture 2" descr="https://www.pnhz.kz/upload/medialibrary/2c3/6bu2ip7b6836uwsw7ehagd4uv2v2vema/IMG_2473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162" y="1590802"/>
            <a:ext cx="2562474" cy="164730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4" descr="Юрта ПНХЗ в Наурыз украсила Набережную города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180" y="4137845"/>
            <a:ext cx="2542939" cy="169264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Рисунок 66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394"/>
          <a:stretch/>
        </p:blipFill>
        <p:spPr>
          <a:xfrm>
            <a:off x="4483841" y="862442"/>
            <a:ext cx="2666192" cy="145671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8" name="Прямоугольник 67"/>
          <p:cNvSpPr/>
          <p:nvPr/>
        </p:nvSpPr>
        <p:spPr>
          <a:xfrm>
            <a:off x="4370383" y="4425070"/>
            <a:ext cx="253500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9 Мая – поздравление ветеранов тружеников тыла «ВОВ».</a:t>
            </a:r>
          </a:p>
        </p:txBody>
      </p:sp>
      <p:pic>
        <p:nvPicPr>
          <p:cNvPr id="69" name="Рисунок 68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88" b="21292"/>
          <a:stretch/>
        </p:blipFill>
        <p:spPr>
          <a:xfrm>
            <a:off x="4461151" y="3108994"/>
            <a:ext cx="2688882" cy="123913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0" name="Прямоугольник 69"/>
          <p:cNvSpPr/>
          <p:nvPr/>
        </p:nvSpPr>
        <p:spPr>
          <a:xfrm>
            <a:off x="4370383" y="6264331"/>
            <a:ext cx="319908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ts val="100"/>
              </a:spcBef>
              <a:spcAft>
                <a:spcPct val="0"/>
              </a:spcAft>
              <a:defRPr/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мощь 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проведении турнира по баскетболу среди производственных коллективов Павлодарской области</a:t>
            </a:r>
          </a:p>
        </p:txBody>
      </p:sp>
      <p:pic>
        <p:nvPicPr>
          <p:cNvPr id="71" name="Рисунок 7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29" t="22037" b="16354"/>
          <a:stretch/>
        </p:blipFill>
        <p:spPr>
          <a:xfrm>
            <a:off x="4427112" y="4889609"/>
            <a:ext cx="2722921" cy="13332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2" name="TextBox 71"/>
          <p:cNvSpPr txBox="1"/>
          <p:nvPr/>
        </p:nvSpPr>
        <p:spPr>
          <a:xfrm>
            <a:off x="8139893" y="2414454"/>
            <a:ext cx="22035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 июня – День защиты детей в </a:t>
            </a:r>
            <a:r>
              <a:rPr lang="ru-RU" sz="10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есчанской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средней </a:t>
            </a: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школе</a:t>
            </a:r>
            <a:endParaRPr lang="en-US" sz="10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3" name="Рисунок 72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979" b="17133"/>
          <a:stretch/>
        </p:blipFill>
        <p:spPr>
          <a:xfrm>
            <a:off x="8139893" y="898622"/>
            <a:ext cx="2629705" cy="142053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4" name="TextBox 73"/>
          <p:cNvSpPr txBox="1"/>
          <p:nvPr/>
        </p:nvSpPr>
        <p:spPr>
          <a:xfrm>
            <a:off x="8071684" y="4344020"/>
            <a:ext cx="32453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4 июня – помощь и участие в </a:t>
            </a: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«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партакиада среди группы компаний АО НК «</a:t>
            </a:r>
            <a:r>
              <a:rPr lang="ru-RU" sz="10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азМунайГаз</a:t>
            </a: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</a:t>
            </a:r>
            <a:endParaRPr lang="ru-RU" sz="10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5" name="Рисунок 74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2" t="38862" r="11108" b="21255"/>
          <a:stretch/>
        </p:blipFill>
        <p:spPr>
          <a:xfrm>
            <a:off x="8139893" y="2909857"/>
            <a:ext cx="2629705" cy="133887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6" name="TextBox 75"/>
          <p:cNvSpPr txBox="1"/>
          <p:nvPr/>
        </p:nvSpPr>
        <p:spPr>
          <a:xfrm>
            <a:off x="8071684" y="6114895"/>
            <a:ext cx="350128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5 июня – организация сбора и предоставление материальной помощи людям, пострадавшим во время пожара в </a:t>
            </a:r>
            <a:r>
              <a:rPr lang="ru-RU" sz="10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байской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области.</a:t>
            </a:r>
          </a:p>
        </p:txBody>
      </p:sp>
      <p:pic>
        <p:nvPicPr>
          <p:cNvPr id="77" name="Рисунок 76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62" t="23115" r="12244"/>
          <a:stretch/>
        </p:blipFill>
        <p:spPr>
          <a:xfrm>
            <a:off x="8148841" y="4813289"/>
            <a:ext cx="2620757" cy="130160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717807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19600" y="6530394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4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5965221" y="169265"/>
            <a:ext cx="61671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Я СОВЕТА ПО ДЕЛАМ МОЛОДЕЖИ  </a:t>
            </a:r>
          </a:p>
        </p:txBody>
      </p:sp>
      <p:pic>
        <p:nvPicPr>
          <p:cNvPr id="14" name="Picture 2" descr="C:\Users\c11-ILAB-IT2\Desktop\Совет молодежи\Лого МС\Лого_ЖасМамандарКенес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40" y="689142"/>
            <a:ext cx="1403648" cy="80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/>
          <p:cNvSpPr txBox="1"/>
          <p:nvPr/>
        </p:nvSpPr>
        <p:spPr>
          <a:xfrm>
            <a:off x="696113" y="3073884"/>
            <a:ext cx="315995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6 августа – помощь в реализации благотворительной программы «Дорога в школу» от фонда АО «</a:t>
            </a:r>
            <a:r>
              <a:rPr lang="ru-RU" sz="10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амрук-Казына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732401" y="5440138"/>
            <a:ext cx="323642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0 августа – участие в организации проведения юбилейного марафона, в честь 45-ти </a:t>
            </a:r>
            <a:r>
              <a:rPr lang="ru-RU" sz="10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летия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ТОО «ПНХЗ»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596959" y="2240996"/>
            <a:ext cx="25652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9 октября – участие в субботнике в рамках экологического </a:t>
            </a:r>
            <a:r>
              <a:rPr lang="ru-RU" sz="10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челленджа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798705" y="1646248"/>
            <a:ext cx="2971986" cy="1366126"/>
            <a:chOff x="71671" y="1944735"/>
            <a:chExt cx="8865350" cy="4228149"/>
          </a:xfrm>
        </p:grpSpPr>
        <p:pic>
          <p:nvPicPr>
            <p:cNvPr id="47" name="Рисунок 4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56588" y="1944735"/>
              <a:ext cx="3171111" cy="4228149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48" name="Рисунок 47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956" t="28222" r="19748"/>
            <a:stretch/>
          </p:blipFill>
          <p:spPr>
            <a:xfrm>
              <a:off x="71671" y="1958273"/>
              <a:ext cx="2479127" cy="4214538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49" name="Рисунок 48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53" t="9630" r="4321" b="5740"/>
            <a:stretch/>
          </p:blipFill>
          <p:spPr>
            <a:xfrm>
              <a:off x="5727700" y="1958273"/>
              <a:ext cx="3209321" cy="421454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pic>
        <p:nvPicPr>
          <p:cNvPr id="50" name="Рисунок 4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893" b="10877"/>
          <a:stretch/>
        </p:blipFill>
        <p:spPr>
          <a:xfrm>
            <a:off x="798705" y="3746661"/>
            <a:ext cx="2908703" cy="145613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1" name="Picture 2" descr="Субботник в рамках экологического челленджа провел коллектив Павлодарского нефтеперерабатывающего завода. 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07" b="13491"/>
          <a:stretch/>
        </p:blipFill>
        <p:spPr bwMode="auto">
          <a:xfrm>
            <a:off x="4627921" y="833593"/>
            <a:ext cx="2795668" cy="138598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3" name="Группа 52"/>
          <p:cNvGrpSpPr/>
          <p:nvPr/>
        </p:nvGrpSpPr>
        <p:grpSpPr>
          <a:xfrm>
            <a:off x="4636803" y="2750067"/>
            <a:ext cx="2786786" cy="1301199"/>
            <a:chOff x="27888" y="2167852"/>
            <a:chExt cx="8031132" cy="3524296"/>
          </a:xfrm>
        </p:grpSpPr>
        <p:pic>
          <p:nvPicPr>
            <p:cNvPr id="54" name="Рисунок 53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55569" y="2167852"/>
              <a:ext cx="4603451" cy="3452585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56" name="Рисунок 55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111" t="35555" r="33056" b="22593"/>
            <a:stretch/>
          </p:blipFill>
          <p:spPr>
            <a:xfrm>
              <a:off x="27888" y="2167852"/>
              <a:ext cx="4584704" cy="352429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sp>
        <p:nvSpPr>
          <p:cNvPr id="57" name="TextBox 56"/>
          <p:cNvSpPr txBox="1"/>
          <p:nvPr/>
        </p:nvSpPr>
        <p:spPr>
          <a:xfrm>
            <a:off x="4596957" y="4068439"/>
            <a:ext cx="25652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ктябрь – участие в Молодежном </a:t>
            </a:r>
            <a:r>
              <a:rPr lang="ru-RU" sz="10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Челлендже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среди групп фонда АО «</a:t>
            </a:r>
            <a:r>
              <a:rPr lang="ru-RU" sz="10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амрук-Казына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.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4471684" y="6288537"/>
            <a:ext cx="481274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4 ноября –  участие в отчетной встрече с неправительственными организациями о ходе реализации государственного заказа в сфере молодежной политики</a:t>
            </a: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6939" r="33472" b="24728"/>
          <a:stretch/>
        </p:blipFill>
        <p:spPr>
          <a:xfrm>
            <a:off x="4596958" y="4723546"/>
            <a:ext cx="2826631" cy="150477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0" name="Рисунок 59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06" t="20152" r="3795" b="17160"/>
          <a:stretch/>
        </p:blipFill>
        <p:spPr>
          <a:xfrm>
            <a:off x="8488601" y="833593"/>
            <a:ext cx="3030999" cy="16226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1" name="TextBox 60"/>
          <p:cNvSpPr txBox="1"/>
          <p:nvPr/>
        </p:nvSpPr>
        <p:spPr>
          <a:xfrm>
            <a:off x="8488601" y="2507698"/>
            <a:ext cx="249343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5-9 декабря – участие во Втором Молодежном Форуме фонда АО «</a:t>
            </a:r>
            <a:r>
              <a:rPr lang="ru-RU" sz="10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амрук-Казына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.</a:t>
            </a:r>
          </a:p>
        </p:txBody>
      </p:sp>
      <p:pic>
        <p:nvPicPr>
          <p:cNvPr id="62" name="Рисунок 61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414" b="7092"/>
          <a:stretch/>
        </p:blipFill>
        <p:spPr>
          <a:xfrm>
            <a:off x="8562184" y="3257738"/>
            <a:ext cx="2957416" cy="145348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3" name="TextBox 62"/>
          <p:cNvSpPr txBox="1"/>
          <p:nvPr/>
        </p:nvSpPr>
        <p:spPr>
          <a:xfrm>
            <a:off x="8448155" y="4808821"/>
            <a:ext cx="253388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8 декабря – организация и поздравление с праздником «Новый год»  учащихся государственного учреждения «Специальная школа-интернат №2» расположенное в селе «Песчаное»</a:t>
            </a:r>
          </a:p>
        </p:txBody>
      </p:sp>
      <p:pic>
        <p:nvPicPr>
          <p:cNvPr id="46" name="Рисунок 4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68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3" name="Rectangle 8"/>
          <p:cNvSpPr>
            <a:spLocks noChangeArrowheads="1"/>
          </p:cNvSpPr>
          <p:nvPr/>
        </p:nvSpPr>
        <p:spPr bwMode="auto">
          <a:xfrm>
            <a:off x="5848544" y="57587"/>
            <a:ext cx="63434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РТИВНЫЕ  МЕРОПРИЯТИЯ: Областные турниры в честь 45-летия ТОО «ПНХЗ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5429" y="1361372"/>
            <a:ext cx="4110420" cy="274028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01" t="9180" r="17148"/>
          <a:stretch/>
        </p:blipFill>
        <p:spPr>
          <a:xfrm>
            <a:off x="4946390" y="773724"/>
            <a:ext cx="2835947" cy="267286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813" y="1438508"/>
            <a:ext cx="4458377" cy="2972251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8100717" y="4394913"/>
            <a:ext cx="3945132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Турнир по мини-футболу</a:t>
            </a:r>
          </a:p>
          <a:p>
            <a:pPr algn="ctr">
              <a:lnSpc>
                <a:spcPct val="150000"/>
              </a:lnSpc>
            </a:pPr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</a:t>
            </a:r>
            <a:r>
              <a:rPr lang="ru-RU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есто </a:t>
            </a:r>
            <a:r>
              <a:rPr lang="ru-RU" b="1" dirty="0" smtClean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</a:t>
            </a:r>
            <a:r>
              <a:rPr lang="ru-RU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О «ПНХЗ». </a:t>
            </a:r>
          </a:p>
          <a:p>
            <a:pPr algn="ctr">
              <a:lnSpc>
                <a:spcPct val="150000"/>
              </a:lnSpc>
            </a:pPr>
            <a:r>
              <a:rPr lang="ru-RU" b="1" dirty="0">
                <a:solidFill>
                  <a:srgbClr val="44546A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solidFill>
                  <a:srgbClr val="44546A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</a:t>
            </a:r>
            <a:r>
              <a:rPr lang="ru-RU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есто </a:t>
            </a:r>
            <a:r>
              <a:rPr lang="ru-RU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</a:t>
            </a:r>
            <a:r>
              <a:rPr lang="ru-RU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О «</a:t>
            </a:r>
            <a:r>
              <a:rPr lang="ru-RU" b="1" dirty="0" smtClean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ПНК-ПВ».</a:t>
            </a:r>
          </a:p>
          <a:p>
            <a:pPr algn="ctr">
              <a:lnSpc>
                <a:spcPct val="150000"/>
              </a:lnSpc>
            </a:pPr>
            <a:r>
              <a:rPr lang="en-US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I</a:t>
            </a:r>
            <a:r>
              <a:rPr lang="ru-RU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есто </a:t>
            </a:r>
            <a:r>
              <a:rPr lang="ru-RU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</a:t>
            </a:r>
            <a:r>
              <a:rPr lang="ru-RU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«KSP Steel»</a:t>
            </a:r>
          </a:p>
          <a:p>
            <a:pPr algn="ctr">
              <a:lnSpc>
                <a:spcPct val="150000"/>
              </a:lnSpc>
            </a:pPr>
            <a:endParaRPr lang="en-US" b="1" dirty="0">
              <a:solidFill>
                <a:srgbClr val="0070C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495998" y="3441680"/>
            <a:ext cx="373673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урнир </a:t>
            </a:r>
          </a:p>
          <a:p>
            <a:pPr algn="ctr">
              <a:lnSpc>
                <a:spcPct val="150000"/>
              </a:lnSpc>
            </a:pPr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 баскетболу</a:t>
            </a:r>
          </a:p>
          <a:p>
            <a:pPr algn="ctr">
              <a:lnSpc>
                <a:spcPct val="150000"/>
              </a:lnSpc>
            </a:pPr>
            <a:r>
              <a:rPr lang="en-US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</a:t>
            </a:r>
            <a:r>
              <a:rPr lang="ru-RU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 </a:t>
            </a:r>
            <a:r>
              <a:rPr lang="ru-RU" b="1" dirty="0" smtClean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 ТОО «ПНХЗ»</a:t>
            </a:r>
          </a:p>
          <a:p>
            <a:pPr algn="ctr">
              <a:lnSpc>
                <a:spcPct val="150000"/>
              </a:lnSpc>
            </a:pPr>
            <a:r>
              <a:rPr lang="en-US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</a:t>
            </a:r>
            <a:r>
              <a:rPr lang="ru-RU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есто </a:t>
            </a:r>
            <a:r>
              <a:rPr lang="ru-RU" b="1" dirty="0" smtClean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</a:t>
            </a:r>
            <a:r>
              <a:rPr lang="ru-RU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  <a:p>
            <a:pPr algn="ctr">
              <a:lnSpc>
                <a:spcPct val="150000"/>
              </a:lnSpc>
            </a:pPr>
            <a:r>
              <a:rPr lang="ru-RU" b="1" dirty="0" err="1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ксуский</a:t>
            </a:r>
            <a:r>
              <a:rPr lang="ru-RU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завод </a:t>
            </a:r>
            <a:r>
              <a:rPr lang="ru-RU" b="1" dirty="0" smtClean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ферросплавов</a:t>
            </a:r>
          </a:p>
          <a:p>
            <a:pPr algn="ctr">
              <a:lnSpc>
                <a:spcPct val="150000"/>
              </a:lnSpc>
            </a:pPr>
            <a:r>
              <a:rPr lang="en-US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I</a:t>
            </a:r>
            <a:r>
              <a:rPr lang="ru-RU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 </a:t>
            </a:r>
            <a:r>
              <a:rPr lang="ru-RU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</a:t>
            </a:r>
            <a:r>
              <a:rPr lang="ru-RU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О «Алюминий Казахстана»,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597877" y="4636979"/>
            <a:ext cx="3701561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урнир по волейболу</a:t>
            </a:r>
          </a:p>
          <a:p>
            <a:pPr algn="ctr">
              <a:lnSpc>
                <a:spcPct val="150000"/>
              </a:lnSpc>
            </a:pPr>
            <a:r>
              <a:rPr lang="en-US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</a:t>
            </a:r>
            <a:r>
              <a:rPr lang="ru-RU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 </a:t>
            </a:r>
            <a:r>
              <a:rPr lang="ru-RU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</a:t>
            </a:r>
            <a:r>
              <a:rPr lang="ru-RU" b="1" dirty="0" smtClean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ТОО </a:t>
            </a:r>
            <a:r>
              <a:rPr lang="ru-RU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«ПНХЗ</a:t>
            </a:r>
            <a:r>
              <a:rPr lang="ru-RU" b="1" dirty="0" smtClean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</a:t>
            </a:r>
          </a:p>
          <a:p>
            <a:pPr algn="ctr">
              <a:lnSpc>
                <a:spcPct val="150000"/>
              </a:lnSpc>
            </a:pPr>
            <a:r>
              <a:rPr lang="en-US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</a:t>
            </a:r>
            <a:r>
              <a:rPr lang="ru-RU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 </a:t>
            </a:r>
            <a:r>
              <a:rPr lang="ru-RU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</a:t>
            </a:r>
            <a:r>
              <a:rPr lang="ru-RU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О «</a:t>
            </a:r>
            <a:r>
              <a:rPr lang="ru-RU" b="1" dirty="0" err="1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азТрансОйл</a:t>
            </a:r>
            <a:r>
              <a:rPr lang="ru-RU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, </a:t>
            </a:r>
            <a:r>
              <a:rPr lang="en-US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I</a:t>
            </a:r>
            <a:r>
              <a:rPr lang="ru-RU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 </a:t>
            </a:r>
            <a:r>
              <a:rPr lang="ru-RU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</a:t>
            </a:r>
            <a:r>
              <a:rPr lang="ru-RU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ксуский</a:t>
            </a:r>
            <a:r>
              <a:rPr lang="ru-RU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завод ферросплавов</a:t>
            </a:r>
          </a:p>
          <a:p>
            <a:pPr algn="ctr">
              <a:lnSpc>
                <a:spcPct val="150000"/>
              </a:lnSpc>
            </a:pPr>
            <a:endParaRPr lang="ru-RU" b="1" dirty="0">
              <a:solidFill>
                <a:srgbClr val="0070C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19600" y="6530394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5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58018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40787" y="6528124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6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5848544" y="57587"/>
            <a:ext cx="63434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РТИВНЫЕ  МЕРОПРИЯТИЯ: СПАРТАКИАДА КМГ, 10-</a:t>
            </a:r>
            <a:r>
              <a:rPr lang="en-US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июл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</a:t>
            </a:r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3 г., </a:t>
            </a:r>
            <a:r>
              <a:rPr lang="ru-RU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Актау</a:t>
            </a:r>
            <a:endParaRPr lang="ru-RU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7291190" y="1098511"/>
            <a:ext cx="4281871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аскетбол (мужчины) – </a:t>
            </a: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</a:t>
            </a: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  <a:endParaRPr lang="en-US" sz="1400" b="1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kk-KZ" sz="1400" b="1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ғыс </a:t>
            </a:r>
            <a:r>
              <a:rPr lang="kk-KZ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ұмалақ </a:t>
            </a:r>
            <a:r>
              <a:rPr lang="en-US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ужчины) </a:t>
            </a: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  <a:endParaRPr lang="ru-RU" sz="1400" b="1" dirty="0">
              <a:solidFill>
                <a:srgbClr val="C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иберспорт – </a:t>
            </a: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 </a:t>
            </a:r>
            <a:endParaRPr lang="en-US" sz="1400" b="1" dirty="0" smtClean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рмреслинг 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женщины) </a:t>
            </a: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  <a:endParaRPr lang="ru-RU" sz="1400" b="1" dirty="0">
              <a:solidFill>
                <a:srgbClr val="C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ru-RU" sz="1400" b="1" dirty="0">
              <a:solidFill>
                <a:srgbClr val="C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олейбол </a:t>
            </a: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мужчины) – </a:t>
            </a:r>
            <a:r>
              <a:rPr lang="en-US" sz="14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</a:t>
            </a:r>
            <a:r>
              <a:rPr lang="ru-RU" sz="14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есто</a:t>
            </a:r>
            <a:r>
              <a:rPr lang="ru-RU" sz="1400" b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endParaRPr lang="en-US" sz="1400" b="1" dirty="0" smtClean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стольный 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ннис (мужчины) </a:t>
            </a: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лавание 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женщины) – </a:t>
            </a: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лавание 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мужчины) – 4 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есто.</a:t>
            </a: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endParaRPr lang="en-US" sz="1400" b="1" dirty="0" smtClean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олейбол </a:t>
            </a: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женщины) – 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4 место</a:t>
            </a: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  <a:endParaRPr lang="en-US" sz="1400" b="1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sz="1400" b="1" dirty="0" smtClean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ru-RU" sz="1400" b="1" dirty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6650" y="4490170"/>
            <a:ext cx="2936993" cy="157570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215" y="1112427"/>
            <a:ext cx="2004868" cy="146308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1688" y="2723876"/>
            <a:ext cx="1950777" cy="131805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0965" y="2701398"/>
            <a:ext cx="2000342" cy="131805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704" y="4259332"/>
            <a:ext cx="3298178" cy="179856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8284" y="1155313"/>
            <a:ext cx="2028044" cy="131805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0526" y="4247484"/>
            <a:ext cx="2982164" cy="182225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744" y="2741975"/>
            <a:ext cx="1927809" cy="146227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1050" y="1098511"/>
            <a:ext cx="1840773" cy="143165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341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9258" y="6503507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7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7483548" y="17339"/>
            <a:ext cx="45518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РТИВНЫЕ  МЕРОПРИЯТИЯ: </a:t>
            </a:r>
            <a:r>
              <a:rPr lang="ru-RU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билейныймарафон</a:t>
            </a:r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доровья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6292" y="1002723"/>
            <a:ext cx="2198402" cy="148572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0992" y="1049393"/>
            <a:ext cx="2096428" cy="150086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3547" y="1035861"/>
            <a:ext cx="2246928" cy="149795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3992" y="2849835"/>
            <a:ext cx="2093428" cy="151164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104" y="4667190"/>
            <a:ext cx="2272569" cy="148425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740" y="2794893"/>
            <a:ext cx="2272569" cy="151504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8629" y="2794893"/>
            <a:ext cx="2204403" cy="151164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6292" y="4678727"/>
            <a:ext cx="2249079" cy="148425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0992" y="4731809"/>
            <a:ext cx="2043493" cy="137809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8" name="Прямоугольник 27"/>
          <p:cNvSpPr/>
          <p:nvPr/>
        </p:nvSpPr>
        <p:spPr>
          <a:xfrm>
            <a:off x="209791" y="889720"/>
            <a:ext cx="4946881" cy="55861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бег </a:t>
            </a: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мужчины) </a:t>
            </a:r>
            <a:endParaRPr lang="ru-RU" sz="1400" b="1" dirty="0" smtClean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</a:t>
            </a:r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  </a:t>
            </a:r>
            <a:r>
              <a:rPr lang="ru-RU" sz="1200" b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румбаев А.Б. </a:t>
            </a:r>
            <a:r>
              <a:rPr lang="en-US" sz="1200" b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 </a:t>
            </a:r>
            <a:r>
              <a:rPr lang="ru-RU" sz="12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уководитель проекта </a:t>
            </a:r>
            <a:r>
              <a:rPr lang="ru-RU" sz="1200" b="1" dirty="0" err="1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КСиНП</a:t>
            </a:r>
            <a:endParaRPr lang="ru-RU" sz="1200" b="1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</a:t>
            </a:r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</a:t>
            </a:r>
            <a:r>
              <a:rPr lang="en-US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Ершов С.С. – оператор т/у </a:t>
            </a:r>
            <a:r>
              <a:rPr lang="ru-RU" sz="1200" b="1" dirty="0" err="1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СиОЗХ</a:t>
            </a:r>
            <a:endParaRPr lang="ru-RU" sz="1200" b="1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</a:t>
            </a:r>
            <a:r>
              <a:rPr lang="en-US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</a:t>
            </a:r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есто</a:t>
            </a:r>
            <a:r>
              <a:rPr lang="en-US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амемов</a:t>
            </a:r>
            <a:r>
              <a:rPr lang="ru-RU" sz="12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Е.Б. – машинист т/н </a:t>
            </a:r>
            <a:r>
              <a:rPr lang="ru-RU" sz="1200" b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ВСК</a:t>
            </a:r>
            <a:endParaRPr lang="ru-RU" sz="1200" b="1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ru-RU" sz="1400" b="1" dirty="0" smtClean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бег </a:t>
            </a: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женщины)</a:t>
            </a:r>
          </a:p>
          <a:p>
            <a:pPr>
              <a:lnSpc>
                <a:spcPct val="150000"/>
              </a:lnSpc>
            </a:pPr>
            <a:r>
              <a:rPr lang="en-US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</a:t>
            </a:r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 </a:t>
            </a:r>
            <a:r>
              <a:rPr lang="ru-RU" sz="12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бебова </a:t>
            </a:r>
            <a:r>
              <a:rPr lang="ru-RU" sz="1200" b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Л.Б. – ведущий инженер СЛ</a:t>
            </a:r>
            <a:endParaRPr lang="ru-RU" sz="1200" b="1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</a:t>
            </a:r>
            <a:r>
              <a:rPr lang="en-US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урат А. </a:t>
            </a:r>
            <a:r>
              <a:rPr lang="en-US" sz="12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 </a:t>
            </a:r>
            <a:r>
              <a:rPr lang="ru-RU" sz="1200" b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мощник Генерального директора</a:t>
            </a:r>
            <a:endParaRPr lang="ru-RU" sz="1200" b="1" dirty="0">
              <a:solidFill>
                <a:srgbClr val="C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</a:t>
            </a:r>
            <a:r>
              <a:rPr lang="en-US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</a:t>
            </a:r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есто</a:t>
            </a:r>
            <a:r>
              <a:rPr lang="en-US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нисимова И.Ю. – инженер по ООС </a:t>
            </a:r>
            <a:r>
              <a:rPr lang="ru-RU" sz="1200" b="1" dirty="0" err="1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ОТиОС</a:t>
            </a:r>
            <a:endParaRPr lang="ru-RU" sz="1200" b="1" dirty="0" smtClean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ru-RU" sz="1200" b="1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иревой спорт</a:t>
            </a:r>
          </a:p>
          <a:p>
            <a:pPr>
              <a:lnSpc>
                <a:spcPct val="150000"/>
              </a:lnSpc>
            </a:pPr>
            <a:r>
              <a:rPr lang="en-US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 </a:t>
            </a:r>
            <a:r>
              <a:rPr lang="ru-RU" sz="1200" b="1" dirty="0" err="1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Искаков</a:t>
            </a:r>
            <a:r>
              <a:rPr lang="ru-RU" sz="12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.Б. </a:t>
            </a:r>
            <a:r>
              <a:rPr lang="ru-RU" sz="12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 оператор т/у </a:t>
            </a:r>
            <a:r>
              <a:rPr lang="ru-RU" sz="1200" b="1" dirty="0" err="1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СиОЗХ</a:t>
            </a:r>
            <a:endParaRPr lang="ru-RU" sz="1200" b="1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</a:t>
            </a:r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 </a:t>
            </a:r>
            <a:r>
              <a:rPr lang="ru-RU" sz="1200" b="1" dirty="0" err="1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армазов</a:t>
            </a:r>
            <a:r>
              <a:rPr lang="ru-RU" sz="12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А.Б. – оператор т/у ПГПН</a:t>
            </a:r>
          </a:p>
          <a:p>
            <a:pPr>
              <a:lnSpc>
                <a:spcPct val="150000"/>
              </a:lnSpc>
            </a:pPr>
            <a:r>
              <a:rPr lang="en-US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I</a:t>
            </a:r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 </a:t>
            </a:r>
            <a:r>
              <a:rPr lang="ru-RU" sz="1200" b="1" dirty="0" err="1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Хасенов</a:t>
            </a:r>
            <a:r>
              <a:rPr lang="ru-RU" sz="12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А.С. – начальник смены ПППН</a:t>
            </a:r>
          </a:p>
          <a:p>
            <a:pPr>
              <a:lnSpc>
                <a:spcPct val="150000"/>
              </a:lnSpc>
            </a:pPr>
            <a:endParaRPr lang="ru-RU" sz="1200" b="1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р</a:t>
            </a:r>
            <a:r>
              <a:rPr lang="kk-KZ" sz="14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ан тарту</a:t>
            </a:r>
            <a:endParaRPr lang="ru-RU" sz="1400" b="1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 </a:t>
            </a:r>
            <a:r>
              <a:rPr lang="ru-RU" sz="12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манда ПКОН</a:t>
            </a:r>
          </a:p>
          <a:p>
            <a:pPr>
              <a:lnSpc>
                <a:spcPct val="150000"/>
              </a:lnSpc>
            </a:pPr>
            <a:r>
              <a:rPr lang="en-US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</a:t>
            </a:r>
            <a:r>
              <a:rPr lang="en-US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манда </a:t>
            </a:r>
            <a:r>
              <a:rPr lang="ru-RU" sz="1200" b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ГПН</a:t>
            </a:r>
            <a:endParaRPr lang="ru-RU" sz="1200" b="1" dirty="0">
              <a:solidFill>
                <a:srgbClr val="C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I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</a:t>
            </a:r>
            <a:r>
              <a:rPr lang="en-US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манда </a:t>
            </a:r>
            <a:r>
              <a:rPr lang="ru-RU" sz="1200" b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СН</a:t>
            </a:r>
            <a:endParaRPr lang="ru-RU" sz="1400" b="1" dirty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371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438666" y="6501179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8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516130" y="879433"/>
            <a:ext cx="534635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иберспорт – </a:t>
            </a:r>
            <a:r>
              <a:rPr lang="en-US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</a:t>
            </a:r>
            <a:r>
              <a:rPr lang="ru-RU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 </a:t>
            </a:r>
            <a:endParaRPr lang="en-US" b="1" dirty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ru-RU" b="1" dirty="0">
                <a:solidFill>
                  <a:srgbClr val="44546A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аскетбол (мужчины) – </a:t>
            </a:r>
            <a:r>
              <a:rPr lang="en-US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</a:t>
            </a:r>
            <a:r>
              <a:rPr lang="ru-RU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есто</a:t>
            </a:r>
          </a:p>
          <a:p>
            <a:pPr algn="ctr">
              <a:lnSpc>
                <a:spcPct val="150000"/>
              </a:lnSpc>
            </a:pPr>
            <a:r>
              <a:rPr lang="kk-KZ" b="1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ғыс </a:t>
            </a:r>
            <a:r>
              <a:rPr lang="kk-KZ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ұмалақ </a:t>
            </a:r>
            <a:r>
              <a:rPr lang="en-US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ужчины) </a:t>
            </a:r>
            <a:r>
              <a:rPr lang="ru-RU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</a:t>
            </a:r>
            <a:r>
              <a:rPr lang="ru-RU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 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стольный теннис (мужчины) </a:t>
            </a:r>
            <a:r>
              <a:rPr lang="ru-RU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I</a:t>
            </a:r>
            <a:r>
              <a:rPr lang="ru-RU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есто</a:t>
            </a:r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  <a:endParaRPr lang="ru-RU" b="1" dirty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6139258" y="67879"/>
            <a:ext cx="59121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РТИВНЫЕ  МЕРОПРИЯТИЯ: СПАРТАКИАДА </a:t>
            </a:r>
          </a:p>
          <a:p>
            <a:pPr algn="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РУК-КАЗЫНА, 17-21 августа 2023 г., г. Астана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5776" y="3145231"/>
            <a:ext cx="4539401" cy="3324906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6" t="21247" r="-104" b="11923"/>
          <a:stretch/>
        </p:blipFill>
        <p:spPr>
          <a:xfrm>
            <a:off x="1122926" y="4338835"/>
            <a:ext cx="4429377" cy="2300844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925" y="879432"/>
            <a:ext cx="4429377" cy="3322033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91021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493127" y="6550626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9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7693882" y="194386"/>
            <a:ext cx="4432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ПОРАТИВНЫЕ МЕРОПРИЯТИЯ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2480419" y="894263"/>
            <a:ext cx="3027616" cy="4432259"/>
            <a:chOff x="3035261" y="928155"/>
            <a:chExt cx="2150494" cy="4432259"/>
          </a:xfrm>
        </p:grpSpPr>
        <p:sp>
          <p:nvSpPr>
            <p:cNvPr id="10" name="Прямоугольник 9"/>
            <p:cNvSpPr/>
            <p:nvPr/>
          </p:nvSpPr>
          <p:spPr>
            <a:xfrm>
              <a:off x="3107197" y="3330818"/>
              <a:ext cx="1707608" cy="61555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25.02.2023 г</a:t>
              </a:r>
              <a:r>
                <a:rPr lang="ru-RU" sz="1200" b="1" dirty="0">
                  <a:solidFill>
                    <a:srgbClr val="C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. </a:t>
              </a:r>
              <a:endParaRPr lang="ru-RU" sz="1200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  <a:p>
              <a:r>
                <a:rPr lang="ru-RU" sz="1100" dirty="0" smtClean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25 </a:t>
              </a:r>
              <a:r>
                <a:rPr lang="ru-RU" sz="1100" dirty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февраля </a:t>
              </a:r>
              <a:r>
                <a:rPr lang="ru-RU" sz="1100" dirty="0" smtClean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прошел </a:t>
              </a:r>
              <a:r>
                <a:rPr lang="ru-RU" sz="1100" dirty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турнир по интеллектуальным видам </a:t>
              </a:r>
              <a:r>
                <a:rPr lang="ru-RU" sz="1100" dirty="0" smtClean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спорта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110207" y="4575584"/>
              <a:ext cx="1643161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2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08.03.2023 </a:t>
              </a:r>
              <a:r>
                <a:rPr lang="ru-RU" sz="1200" b="1" dirty="0">
                  <a:solidFill>
                    <a:srgbClr val="C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г. </a:t>
              </a:r>
            </a:p>
            <a:p>
              <a:pPr>
                <a:defRPr/>
              </a:pPr>
              <a:r>
                <a:rPr lang="ru-RU" sz="1100" dirty="0" smtClean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Прекрасную </a:t>
              </a:r>
              <a:r>
                <a:rPr lang="ru-RU" sz="1100" dirty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половину коллектива и Совета ветеранов предприятия поздравил ПНХЗ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087392" y="2067920"/>
              <a:ext cx="1647434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11.</a:t>
              </a:r>
              <a:r>
                <a:rPr lang="en-US" sz="12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0</a:t>
              </a:r>
              <a:r>
                <a:rPr lang="ru-RU" sz="1200" b="1" dirty="0">
                  <a:solidFill>
                    <a:srgbClr val="C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2</a:t>
              </a:r>
              <a:r>
                <a:rPr lang="en-US" sz="12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.20</a:t>
              </a:r>
              <a:r>
                <a:rPr lang="ru-RU" sz="12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23 </a:t>
              </a:r>
              <a:r>
                <a:rPr lang="ru-RU" sz="1200" b="1" dirty="0">
                  <a:solidFill>
                    <a:srgbClr val="C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г.</a:t>
              </a:r>
              <a:r>
                <a:rPr lang="en-US" sz="1200" dirty="0">
                  <a:solidFill>
                    <a:srgbClr val="C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</a:t>
              </a:r>
              <a:endParaRPr lang="ru-RU" sz="1200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  <a:p>
              <a:r>
                <a:rPr lang="ru-RU" sz="1100" dirty="0" smtClean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Лыжными гонками среди </a:t>
              </a:r>
              <a:r>
                <a:rPr lang="ru-RU" sz="1100" dirty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структурных </a:t>
              </a:r>
              <a:r>
                <a:rPr lang="ru-RU" sz="1100" dirty="0" smtClean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подразделений ПНХЗ. </a:t>
              </a:r>
              <a:endPara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3035261" y="928155"/>
              <a:ext cx="2150494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kk-KZ" sz="12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10.02.2023 г</a:t>
              </a:r>
              <a:r>
                <a:rPr lang="kk-KZ" sz="1200" b="1" dirty="0">
                  <a:solidFill>
                    <a:srgbClr val="C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. </a:t>
              </a:r>
            </a:p>
            <a:p>
              <a:r>
                <a:rPr lang="ru-RU" sz="1100" dirty="0" smtClean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Победа </a:t>
              </a:r>
              <a:r>
                <a:rPr lang="ru-RU" sz="1100" dirty="0" err="1" smtClean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баскетболиств</a:t>
              </a:r>
              <a:r>
                <a:rPr lang="ru-RU" sz="1100" dirty="0" smtClean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в турнире </a:t>
              </a:r>
              <a:r>
                <a:rPr lang="ru-RU" sz="1100" dirty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памяти Сергея </a:t>
              </a:r>
              <a:r>
                <a:rPr lang="ru-RU" sz="1100" dirty="0" err="1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Калегаева</a:t>
              </a:r>
              <a:r>
                <a:rPr lang="ru-RU" sz="1100" dirty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– первого тренера баскетбольной команды </a:t>
              </a:r>
              <a:r>
                <a:rPr lang="ru-RU" sz="1100" dirty="0" err="1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Аксуского</a:t>
              </a:r>
              <a:r>
                <a:rPr lang="ru-RU" sz="1100" dirty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завода </a:t>
              </a:r>
              <a:r>
                <a:rPr lang="ru-RU" sz="1100" dirty="0" smtClean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ферросплавов</a:t>
              </a:r>
              <a:endPara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2553813" y="845887"/>
            <a:ext cx="9254775" cy="5800043"/>
            <a:chOff x="3536064" y="1035340"/>
            <a:chExt cx="5293049" cy="5800043"/>
          </a:xfrm>
        </p:grpSpPr>
        <p:sp>
          <p:nvSpPr>
            <p:cNvPr id="21" name="Прямоугольник 20"/>
            <p:cNvSpPr/>
            <p:nvPr/>
          </p:nvSpPr>
          <p:spPr>
            <a:xfrm>
              <a:off x="3536064" y="5711999"/>
              <a:ext cx="1565126" cy="11233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20.03.2023 </a:t>
              </a:r>
              <a:r>
                <a:rPr lang="ru-RU" sz="1200" b="1" dirty="0">
                  <a:solidFill>
                    <a:srgbClr val="C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г.</a:t>
              </a:r>
            </a:p>
            <a:p>
              <a:r>
                <a:rPr lang="ru-RU" sz="1100" dirty="0" smtClean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В преддверии </a:t>
              </a:r>
              <a:r>
                <a:rPr lang="ru-RU" sz="1100" dirty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праздника весеннего обновления – </a:t>
              </a:r>
              <a:r>
                <a:rPr lang="ru-RU" sz="1100" dirty="0" err="1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Наурыза</a:t>
              </a:r>
              <a:r>
                <a:rPr lang="ru-RU" sz="1100" dirty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 smtClean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– ПНХЗ порадовал </a:t>
              </a:r>
              <a:r>
                <a:rPr lang="ru-RU" sz="1100" dirty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своих работников теплыми поздравлениями и вкусными угощениями.  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6718807" y="1035340"/>
              <a:ext cx="2110306" cy="7848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22.03.2023 </a:t>
              </a:r>
              <a:r>
                <a:rPr lang="ru-RU" sz="1200" b="1" dirty="0">
                  <a:solidFill>
                    <a:srgbClr val="C00000"/>
                  </a:solidFill>
                  <a:latin typeface="Century Gothic" panose="020B0502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г.</a:t>
              </a:r>
            </a:p>
            <a:p>
              <a:r>
                <a:rPr lang="ru-RU" sz="1100" dirty="0" smtClean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ПНХЗ </a:t>
              </a:r>
              <a:r>
                <a:rPr lang="ru-RU" sz="1100" dirty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наряду с крупными предприятиями области принял участие в общегородском праздновании </a:t>
              </a:r>
              <a:r>
                <a:rPr lang="ru-RU" sz="1100" dirty="0" err="1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Наурыза</a:t>
              </a:r>
              <a:r>
                <a:rPr lang="ru-RU" sz="1100" dirty="0" smtClean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.</a:t>
              </a:r>
              <a:endPara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098" name="Picture 2" descr=" ПНХЗ победил в баскетбольном турнире имени Сергея Калегаева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7" t="8733" b="680"/>
          <a:stretch/>
        </p:blipFill>
        <p:spPr bwMode="auto">
          <a:xfrm>
            <a:off x="413997" y="799351"/>
            <a:ext cx="1925186" cy="1143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Павлодарский НХЗ: в юбилейный год к новым спортивным победам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8" t="6523" b="6256"/>
          <a:stretch/>
        </p:blipFill>
        <p:spPr bwMode="auto">
          <a:xfrm>
            <a:off x="423773" y="2034028"/>
            <a:ext cx="1920357" cy="114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У павлодарских нефтепереработчиков прошел турнир по интеллектуальным видам спорта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773" y="3250053"/>
            <a:ext cx="1915410" cy="1141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Прекрасную половину коллектива и Совета ветеранов предприятия поздравил ПНХЗ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4" b="8855"/>
          <a:stretch/>
        </p:blipFill>
        <p:spPr bwMode="auto">
          <a:xfrm>
            <a:off x="413996" y="4476912"/>
            <a:ext cx="1925187" cy="1162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На ПНХЗ сотрудников поздравили с праздником весеннего обновления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96" y="5725011"/>
            <a:ext cx="1925187" cy="1065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12" descr="Юрта ПНХЗ в Наурыз украсила Набережную города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6775" y="764340"/>
            <a:ext cx="1813188" cy="1098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0" name="Picture 14" descr="На ПНХЗ провели конкурс детских поделок из пластика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25"/>
          <a:stretch/>
        </p:blipFill>
        <p:spPr bwMode="auto">
          <a:xfrm>
            <a:off x="6203875" y="3185761"/>
            <a:ext cx="1842697" cy="960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0" r="-1" b="13839"/>
          <a:stretch/>
        </p:blipFill>
        <p:spPr>
          <a:xfrm>
            <a:off x="6203876" y="5680158"/>
            <a:ext cx="1842696" cy="1020206"/>
          </a:xfrm>
          <a:prstGeom prst="rect">
            <a:avLst/>
          </a:prstGeom>
        </p:spPr>
      </p:pic>
      <p:sp>
        <p:nvSpPr>
          <p:cNvPr id="27" name="Прямоугольник 26"/>
          <p:cNvSpPr/>
          <p:nvPr/>
        </p:nvSpPr>
        <p:spPr>
          <a:xfrm>
            <a:off x="8118766" y="5776461"/>
            <a:ext cx="358306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8.09.2023 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.</a:t>
            </a:r>
          </a:p>
          <a:p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ботники ПНХЗ успешно отметили 45-летний юбилей родного предприятия</a:t>
            </a:r>
            <a:endParaRPr lang="ru-RU" sz="11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8135867" y="1927829"/>
            <a:ext cx="367850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7.04.2023 г.</a:t>
            </a:r>
          </a:p>
          <a:p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ля молодых инженеров по автоматизации производства портфельных компаний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руппы АО «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мрук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азына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» провели на 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НХЗ рабочую встречу</a:t>
            </a:r>
            <a:endParaRPr lang="ru-RU" sz="11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4367" y="1927829"/>
            <a:ext cx="1872206" cy="1181821"/>
          </a:xfrm>
          <a:prstGeom prst="rect">
            <a:avLst/>
          </a:prstGeom>
        </p:spPr>
      </p:pic>
      <p:grpSp>
        <p:nvGrpSpPr>
          <p:cNvPr id="28" name="Группа 27"/>
          <p:cNvGrpSpPr/>
          <p:nvPr/>
        </p:nvGrpSpPr>
        <p:grpSpPr>
          <a:xfrm>
            <a:off x="8172148" y="3357760"/>
            <a:ext cx="3812546" cy="1831742"/>
            <a:chOff x="6739556" y="3547213"/>
            <a:chExt cx="2180495" cy="1831742"/>
          </a:xfrm>
        </p:grpSpPr>
        <p:sp>
          <p:nvSpPr>
            <p:cNvPr id="31" name="Прямоугольник 30"/>
            <p:cNvSpPr/>
            <p:nvPr/>
          </p:nvSpPr>
          <p:spPr>
            <a:xfrm>
              <a:off x="6758525" y="3547213"/>
              <a:ext cx="2161526" cy="61555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05.06.2023 </a:t>
              </a:r>
              <a:r>
                <a:rPr lang="ru-RU" sz="1200" b="1" dirty="0">
                  <a:solidFill>
                    <a:srgbClr val="C00000"/>
                  </a:solidFill>
                  <a:latin typeface="Century Gothic" panose="020B0502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г.</a:t>
              </a:r>
            </a:p>
            <a:p>
              <a:r>
                <a:rPr lang="ru-RU" sz="1100" dirty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На ПНХЗ провели конкурс детских поделок из пластика</a:t>
              </a: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6739556" y="4594125"/>
              <a:ext cx="2049246" cy="7848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12.08.2023 </a:t>
              </a:r>
              <a:r>
                <a:rPr lang="ru-RU" sz="1200" b="1" dirty="0">
                  <a:solidFill>
                    <a:srgbClr val="C00000"/>
                  </a:solidFill>
                  <a:latin typeface="Century Gothic" panose="020B0502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г.</a:t>
              </a:r>
            </a:p>
            <a:p>
              <a:r>
                <a:rPr lang="ru-RU" sz="1100" dirty="0" smtClean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Павлодарские </a:t>
              </a:r>
              <a:r>
                <a:rPr lang="ru-RU" sz="1100" dirty="0" err="1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нефтепереработчики</a:t>
              </a:r>
              <a:r>
                <a:rPr lang="ru-RU" sz="1100" dirty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стали участниками торжества по случаю 165-летия М. Ж</a:t>
              </a:r>
              <a:r>
                <a:rPr lang="ru-RU" sz="1100" dirty="0" smtClean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. </a:t>
              </a:r>
              <a:r>
                <a:rPr lang="ru-RU" sz="1100" dirty="0" err="1" smtClean="0">
                  <a:solidFill>
                    <a:srgbClr val="00206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Копеева</a:t>
              </a:r>
              <a:endPara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33" name="Рисунок 3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876" y="4298881"/>
            <a:ext cx="1842696" cy="1208792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026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0633414"/>
              </p:ext>
            </p:extLst>
          </p:nvPr>
        </p:nvGraphicFramePr>
        <p:xfrm>
          <a:off x="361150" y="952623"/>
          <a:ext cx="11456893" cy="4564506"/>
        </p:xfrm>
        <a:graphic>
          <a:graphicData uri="http://schemas.openxmlformats.org/drawingml/2006/table">
            <a:tbl>
              <a:tblPr/>
              <a:tblGrid>
                <a:gridCol w="54556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0024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0024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0024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00246">
                  <a:extLst>
                    <a:ext uri="{9D8B030D-6E8A-4147-A177-3AD203B41FA5}">
                      <a16:colId xmlns:a16="http://schemas.microsoft.com/office/drawing/2014/main" val="202641860"/>
                    </a:ext>
                  </a:extLst>
                </a:gridCol>
                <a:gridCol w="1200246">
                  <a:extLst>
                    <a:ext uri="{9D8B030D-6E8A-4147-A177-3AD203B41FA5}">
                      <a16:colId xmlns:a16="http://schemas.microsoft.com/office/drawing/2014/main" val="2793796314"/>
                    </a:ext>
                  </a:extLst>
                </a:gridCol>
              </a:tblGrid>
              <a:tr h="775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Наименование </a:t>
                      </a:r>
                    </a:p>
                  </a:txBody>
                  <a:tcPr marL="7621" marR="7621" marT="761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0 год</a:t>
                      </a:r>
                      <a:endParaRPr lang="ru-RU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2021 год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2 год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3 год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План</a:t>
                      </a:r>
                    </a:p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2024 год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44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Уплачено платежей 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в республиканский </a:t>
                      </a:r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бюджет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, всего</a:t>
                      </a: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42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 055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5 167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2 181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0 000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44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в том </a:t>
                      </a:r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числе: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44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НДС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31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 269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 261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 522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 000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44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КПН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19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 778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 901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 648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 000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44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Таможенные </a:t>
                      </a:r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платежи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4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 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1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44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Уплачено </a:t>
                      </a:r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платежей 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в местный бюджет, всего</a:t>
                      </a: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5 869</a:t>
                      </a:r>
                    </a:p>
                  </a:txBody>
                  <a:tcPr marL="6578" marR="6578" marT="657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6 968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9 482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27 060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25 647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44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в том числе: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44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ИПН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55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56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959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284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 400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0870258"/>
                  </a:ext>
                </a:extLst>
              </a:tr>
              <a:tr h="3144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Социальный </a:t>
                      </a:r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налог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32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30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777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030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 700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800031"/>
                  </a:ext>
                </a:extLst>
              </a:tr>
              <a:tr h="3144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Акцизы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2 750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3 800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6 150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23 150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20 000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6787350"/>
                  </a:ext>
                </a:extLst>
              </a:tr>
              <a:tr h="3144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Плата за эмиссию в </a:t>
                      </a:r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окружающую 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среду</a:t>
                      </a: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10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46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29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73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99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1017558"/>
                  </a:ext>
                </a:extLst>
              </a:tr>
              <a:tr h="330506">
                <a:tc>
                  <a:txBody>
                    <a:bodyPr/>
                    <a:lstStyle/>
                    <a:p>
                      <a:pPr marL="266700" indent="0" algn="l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Итого </a:t>
                      </a:r>
                      <a:r>
                        <a:rPr lang="ru-RU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платежей в </a:t>
                      </a:r>
                      <a:r>
                        <a:rPr lang="ru-RU" sz="14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бюджет</a:t>
                      </a:r>
                      <a:endParaRPr lang="ru-RU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1" marR="7621" marT="761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6 411</a:t>
                      </a:r>
                      <a:endParaRPr lang="ru-RU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61</a:t>
                      </a:r>
                      <a:r>
                        <a:rPr lang="ru-RU" sz="14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 023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24 649</a:t>
                      </a:r>
                      <a:endParaRPr lang="ru-RU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39 241</a:t>
                      </a:r>
                      <a:endParaRPr lang="ru-RU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135 647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1281052"/>
                  </a:ext>
                </a:extLst>
              </a:tr>
            </a:tbl>
          </a:graphicData>
        </a:graphic>
      </p:graphicFrame>
      <p:sp>
        <p:nvSpPr>
          <p:cNvPr id="19" name="Прямоугольник 18"/>
          <p:cNvSpPr/>
          <p:nvPr/>
        </p:nvSpPr>
        <p:spPr>
          <a:xfrm>
            <a:off x="291994" y="5681880"/>
            <a:ext cx="11746488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НХЗ является крупнейшим налогоплательщиком региона. </a:t>
            </a:r>
            <a:endParaRPr lang="ru-RU" sz="14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оля 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логовых отчислений 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 2023 год составила более 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0%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бщем поступлении налогов в городской 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юджет.</a:t>
            </a:r>
            <a:endParaRPr lang="ru-RU" sz="1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4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5669280" y="169265"/>
            <a:ext cx="64182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ЛАТЫ В БЮДЖЕТ РК ЗА 2020-2024 гг., млн тенге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6979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80A0CD63-1EF0-49FE-B83E-8B0213AA8B19}"/>
              </a:ext>
            </a:extLst>
          </p:cNvPr>
          <p:cNvSpPr/>
          <p:nvPr/>
        </p:nvSpPr>
        <p:spPr>
          <a:xfrm>
            <a:off x="7616414" y="183582"/>
            <a:ext cx="448075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ДЕПАРТАМЕНТА </a:t>
            </a:r>
            <a:r>
              <a:rPr lang="ru-RU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ОиРО</a:t>
            </a:r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А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9258" y="6581001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5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0626212"/>
              </p:ext>
            </p:extLst>
          </p:nvPr>
        </p:nvGraphicFramePr>
        <p:xfrm>
          <a:off x="354197" y="806038"/>
          <a:ext cx="11470766" cy="27874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8343">
                  <a:extLst>
                    <a:ext uri="{9D8B030D-6E8A-4147-A177-3AD203B41FA5}">
                      <a16:colId xmlns:a16="http://schemas.microsoft.com/office/drawing/2014/main" val="2195379091"/>
                    </a:ext>
                  </a:extLst>
                </a:gridCol>
                <a:gridCol w="6103741">
                  <a:extLst>
                    <a:ext uri="{9D8B030D-6E8A-4147-A177-3AD203B41FA5}">
                      <a16:colId xmlns:a16="http://schemas.microsoft.com/office/drawing/2014/main" val="1757066019"/>
                    </a:ext>
                  </a:extLst>
                </a:gridCol>
                <a:gridCol w="2494341">
                  <a:extLst>
                    <a:ext uri="{9D8B030D-6E8A-4147-A177-3AD203B41FA5}">
                      <a16:colId xmlns:a16="http://schemas.microsoft.com/office/drawing/2014/main" val="2713077817"/>
                    </a:ext>
                  </a:extLst>
                </a:gridCol>
                <a:gridCol w="2494341">
                  <a:extLst>
                    <a:ext uri="{9D8B030D-6E8A-4147-A177-3AD203B41FA5}">
                      <a16:colId xmlns:a16="http://schemas.microsoft.com/office/drawing/2014/main" val="3793267534"/>
                    </a:ext>
                  </a:extLst>
                </a:gridCol>
              </a:tblGrid>
              <a:tr h="742218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Договора по</a:t>
                      </a:r>
                    </a:p>
                    <a:p>
                      <a:pPr algn="ctr"/>
                      <a:r>
                        <a:rPr lang="ru-RU" sz="14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видам работ</a:t>
                      </a:r>
                      <a:endParaRPr lang="ru-RU" sz="1400" dirty="0"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Администратор</a:t>
                      </a:r>
                    </a:p>
                    <a:p>
                      <a:pPr algn="ctr"/>
                      <a:r>
                        <a:rPr lang="ru-RU" sz="14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договора</a:t>
                      </a:r>
                      <a:endParaRPr lang="ru-RU" sz="1400" dirty="0"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ол-во </a:t>
                      </a:r>
                    </a:p>
                    <a:p>
                      <a:pPr algn="ctr"/>
                      <a:r>
                        <a:rPr lang="ru-RU" sz="14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заключенных договоров</a:t>
                      </a:r>
                      <a:endParaRPr lang="ru-RU" sz="1400" dirty="0"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7085084"/>
                  </a:ext>
                </a:extLst>
              </a:tr>
              <a:tr h="511316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Договора на выполнение обще-строительных работ</a:t>
                      </a:r>
                      <a:endParaRPr lang="ru-RU" sz="14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Отдел </a:t>
                      </a:r>
                      <a:r>
                        <a:rPr lang="ru-RU" sz="1400" dirty="0" err="1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ОиРЗиС</a:t>
                      </a:r>
                      <a:endParaRPr lang="ru-RU" sz="14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u-RU" sz="14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7499082"/>
                  </a:ext>
                </a:extLst>
              </a:tr>
              <a:tr h="511316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4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Договора на</a:t>
                      </a:r>
                      <a:r>
                        <a:rPr lang="ru-RU" sz="1400" baseline="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техническое обслуживание оборудования</a:t>
                      </a:r>
                      <a:endParaRPr lang="ru-RU" sz="14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Отдел ТОРО</a:t>
                      </a:r>
                      <a:endParaRPr lang="ru-RU" sz="14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9</a:t>
                      </a:r>
                      <a:endParaRPr lang="ru-RU" sz="14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2828422"/>
                  </a:ext>
                </a:extLst>
              </a:tr>
              <a:tr h="511316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4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Договора остановочного ремонта</a:t>
                      </a:r>
                      <a:endParaRPr lang="ru-RU" sz="14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Отдел ТОРО</a:t>
                      </a:r>
                      <a:endParaRPr lang="ru-RU" sz="14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4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4821137"/>
                  </a:ext>
                </a:extLst>
              </a:tr>
              <a:tr h="511316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ru-RU" sz="1400" b="1" i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ИТОГО:</a:t>
                      </a:r>
                      <a:endParaRPr lang="ru-RU" sz="1400" b="1" i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ru-RU" sz="1400" b="1" i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i="1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35</a:t>
                      </a:r>
                      <a:endParaRPr lang="ru-RU" sz="1400" b="1" i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1697532"/>
                  </a:ext>
                </a:extLst>
              </a:tr>
            </a:tbl>
          </a:graphicData>
        </a:graphic>
      </p:graphicFrame>
      <p:sp>
        <p:nvSpPr>
          <p:cNvPr id="11" name="Line 9"/>
          <p:cNvSpPr>
            <a:spLocks noChangeShapeType="1"/>
          </p:cNvSpPr>
          <p:nvPr/>
        </p:nvSpPr>
        <p:spPr bwMode="auto">
          <a:xfrm flipV="1">
            <a:off x="99012" y="3769625"/>
            <a:ext cx="11947678" cy="0"/>
          </a:xfrm>
          <a:prstGeom prst="line">
            <a:avLst/>
          </a:prstGeom>
          <a:noFill/>
          <a:ln w="57150" cmpd="thickThin">
            <a:solidFill>
              <a:srgbClr val="0033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dirty="0">
              <a:solidFill>
                <a:srgbClr val="08080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Line 9"/>
          <p:cNvSpPr>
            <a:spLocks noChangeShapeType="1"/>
          </p:cNvSpPr>
          <p:nvPr/>
        </p:nvSpPr>
        <p:spPr bwMode="auto">
          <a:xfrm flipH="1" flipV="1">
            <a:off x="6089580" y="3769623"/>
            <a:ext cx="17021" cy="2985251"/>
          </a:xfrm>
          <a:prstGeom prst="line">
            <a:avLst/>
          </a:prstGeom>
          <a:noFill/>
          <a:ln w="57150" cmpd="thickThin">
            <a:solidFill>
              <a:srgbClr val="0033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dirty="0">
              <a:solidFill>
                <a:srgbClr val="08080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54226" y="5945884"/>
            <a:ext cx="589246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2023 году проведено</a:t>
            </a:r>
            <a:r>
              <a:rPr lang="en-US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и выполнено 1314 заказов в системе </a:t>
            </a:r>
            <a:r>
              <a:rPr lang="en-US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BM Maximo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на выполнение планово-технического обслуживания и ремонта НКО, ГПМ, АВО, вентиляции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endParaRPr lang="ru-RU" sz="1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AutoShape 2" descr="Гаечный ключ. 3D иллюстрация, изолированная на белом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0500" y="3982471"/>
            <a:ext cx="1574463" cy="1574463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7975" y="4067955"/>
            <a:ext cx="1585736" cy="161632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4197" y="3982471"/>
            <a:ext cx="5516405" cy="277240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611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6208078" y="188185"/>
            <a:ext cx="598392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ТОГИ КАПИТАЛЬНОГО РЕМОНТА 2023 ГОДА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/>
          </p:nvPr>
        </p:nvGraphicFramePr>
        <p:xfrm>
          <a:off x="6086720" y="815364"/>
          <a:ext cx="5993336" cy="45000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46243">
                  <a:extLst>
                    <a:ext uri="{9D8B030D-6E8A-4147-A177-3AD203B41FA5}">
                      <a16:colId xmlns:a16="http://schemas.microsoft.com/office/drawing/2014/main" val="2756416697"/>
                    </a:ext>
                  </a:extLst>
                </a:gridCol>
                <a:gridCol w="1747093">
                  <a:extLst>
                    <a:ext uri="{9D8B030D-6E8A-4147-A177-3AD203B41FA5}">
                      <a16:colId xmlns:a16="http://schemas.microsoft.com/office/drawing/2014/main" val="2661254981"/>
                    </a:ext>
                  </a:extLst>
                </a:gridCol>
              </a:tblGrid>
              <a:tr h="6120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Список подрядных организаций</a:t>
                      </a:r>
                      <a:endParaRPr lang="ru-RU" sz="1400" b="1" i="0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algn="ctr" fontAlgn="b"/>
                      <a:r>
                        <a:rPr lang="ru-RU" sz="1400" b="1" i="0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участвовавших </a:t>
                      </a:r>
                      <a:r>
                        <a:rPr lang="ru-RU" sz="1400" b="1" i="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в </a:t>
                      </a:r>
                      <a:r>
                        <a:rPr lang="ru-RU" sz="1400" b="1" i="0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проведении ремонта</a:t>
                      </a:r>
                      <a:endParaRPr lang="ru-RU" sz="1400" b="1" i="0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Количество персонала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2674670"/>
                  </a:ext>
                </a:extLst>
              </a:tr>
              <a:tr h="353462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ТОО </a:t>
                      </a: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«</a:t>
                      </a:r>
                      <a:r>
                        <a:rPr lang="en-US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AVC</a:t>
                      </a:r>
                      <a:r>
                        <a:rPr lang="en-US" sz="1200" kern="1200" baseline="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Production</a:t>
                      </a: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»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228</a:t>
                      </a:r>
                      <a:endParaRPr lang="ru-RU" sz="12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8507961"/>
                  </a:ext>
                </a:extLst>
              </a:tr>
              <a:tr h="353462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ТОО </a:t>
                      </a: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«</a:t>
                      </a:r>
                      <a:r>
                        <a:rPr lang="ru-RU" sz="1200" kern="1200" dirty="0" err="1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КазтеплоСПЕЦСТРОЙ</a:t>
                      </a: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»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</a:t>
                      </a:r>
                      <a:endParaRPr lang="ru-RU" sz="12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4187818"/>
                  </a:ext>
                </a:extLst>
              </a:tr>
              <a:tr h="353462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ТОО </a:t>
                      </a: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«ПФМ</a:t>
                      </a:r>
                      <a:r>
                        <a:rPr lang="ru-RU" sz="1200" kern="1200" baseline="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- </a:t>
                      </a:r>
                      <a:r>
                        <a:rPr lang="ru-RU" sz="1200" kern="1200" baseline="0" dirty="0" err="1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Имсталькон</a:t>
                      </a: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»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2</a:t>
                      </a:r>
                      <a:endParaRPr lang="ru-RU" sz="12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8613492"/>
                  </a:ext>
                </a:extLst>
              </a:tr>
              <a:tr h="353462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ТОО </a:t>
                      </a: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«</a:t>
                      </a:r>
                      <a:r>
                        <a:rPr lang="en-US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atalyst Service</a:t>
                      </a: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»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5</a:t>
                      </a:r>
                      <a:endParaRPr lang="ru-RU" sz="12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3663266"/>
                  </a:ext>
                </a:extLst>
              </a:tr>
              <a:tr h="353462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ТОО </a:t>
                      </a: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«НПО Дефектоскопия»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5</a:t>
                      </a:r>
                      <a:endParaRPr lang="ru-RU" sz="12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7091354"/>
                  </a:ext>
                </a:extLst>
              </a:tr>
              <a:tr h="353462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ТОО «</a:t>
                      </a:r>
                      <a:r>
                        <a:rPr lang="en-US" sz="1200" kern="1200" dirty="0" err="1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Incom</a:t>
                      </a:r>
                      <a:r>
                        <a:rPr lang="en-US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Company»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2</a:t>
                      </a:r>
                      <a:endParaRPr lang="ru-RU" sz="12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7747660"/>
                  </a:ext>
                </a:extLst>
              </a:tr>
              <a:tr h="353462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ТОО «</a:t>
                      </a:r>
                      <a:r>
                        <a:rPr lang="ru-RU" sz="1200" kern="1200" dirty="0" err="1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Тотал</a:t>
                      </a: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Сервис»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55</a:t>
                      </a:r>
                      <a:endParaRPr lang="ru-RU" sz="12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7881938"/>
                  </a:ext>
                </a:extLst>
              </a:tr>
              <a:tr h="353462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ТОО «</a:t>
                      </a:r>
                      <a:r>
                        <a:rPr lang="en-US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ENERGY SERVICE-PVL</a:t>
                      </a: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»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62</a:t>
                      </a:r>
                      <a:endParaRPr lang="ru-RU" sz="12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7253323"/>
                  </a:ext>
                </a:extLst>
              </a:tr>
              <a:tr h="353462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ТОО </a:t>
                      </a:r>
                      <a:r>
                        <a:rPr lang="en-US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ES Kazakhstan (IMI </a:t>
                      </a:r>
                      <a:r>
                        <a:rPr lang="en-US" sz="1200" kern="1200" dirty="0" err="1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Remosa</a:t>
                      </a: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– Италия</a:t>
                      </a:r>
                      <a:r>
                        <a:rPr lang="en-US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)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</a:t>
                      </a:r>
                      <a:endParaRPr lang="ru-RU" sz="12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737063"/>
                  </a:ext>
                </a:extLst>
              </a:tr>
              <a:tr h="353462">
                <a:tc>
                  <a:txBody>
                    <a:bodyPr/>
                    <a:lstStyle/>
                    <a:p>
                      <a:pPr marL="180000" algn="l" fontAlgn="b"/>
                      <a:r>
                        <a:rPr lang="en-US" sz="1200" kern="1200" dirty="0" err="1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Belman</a:t>
                      </a:r>
                      <a:r>
                        <a:rPr lang="en-US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A/S</a:t>
                      </a: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(Дания)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8204938"/>
                  </a:ext>
                </a:extLst>
              </a:tr>
              <a:tr h="353462">
                <a:tc>
                  <a:txBody>
                    <a:bodyPr/>
                    <a:lstStyle/>
                    <a:p>
                      <a:pPr marL="180000" algn="ctr" fontAlgn="b"/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ИТОГО, чел.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644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7109825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5658" y="843910"/>
            <a:ext cx="6031061" cy="6124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30"/>
              </a:spcBef>
            </a:pP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Плановый капитальный ремонт 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- 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30 календарных дней (ЛК-6У</a:t>
            </a:r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):</a:t>
            </a:r>
            <a:endParaRPr lang="en-US" sz="12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330"/>
              </a:spcBef>
            </a:pP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Дата начала ремонта – </a:t>
            </a:r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20.06.23г.</a:t>
            </a:r>
          </a:p>
          <a:p>
            <a:pPr>
              <a:spcBef>
                <a:spcPts val="330"/>
              </a:spcBef>
            </a:pP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Выход на режим ПППН С-100 – </a:t>
            </a:r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17.07.23г. </a:t>
            </a:r>
            <a:r>
              <a:rPr lang="ru-RU" sz="1200" u="sng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(опережение графика на 2 суток)</a:t>
            </a:r>
            <a:endParaRPr lang="ru-RU" sz="1200" u="sng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330"/>
              </a:spcBef>
            </a:pP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</a:rPr>
              <a:t>Выход на режим </a:t>
            </a: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ПГПН С-200 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</a:rPr>
              <a:t>– </a:t>
            </a:r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26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.07.23г. </a:t>
            </a:r>
            <a:r>
              <a:rPr lang="ru-RU" sz="1200" u="sng" dirty="0">
                <a:solidFill>
                  <a:srgbClr val="002060"/>
                </a:solidFill>
                <a:latin typeface="Century Gothic" panose="020B0502020202020204" pitchFamily="34" charset="0"/>
              </a:rPr>
              <a:t>(опережение графика на </a:t>
            </a:r>
            <a:r>
              <a:rPr lang="ru-RU" sz="1200" u="sng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4 суток)</a:t>
            </a:r>
            <a:endParaRPr lang="ru-RU" sz="1200" u="sng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330"/>
              </a:spcBef>
            </a:pP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330"/>
              </a:spcBef>
            </a:pP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Цель ремонта – ДОСТИГНУТА! </a:t>
            </a:r>
            <a:endParaRPr lang="ru-RU" sz="14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171450" indent="-171450">
              <a:spcBef>
                <a:spcPts val="330"/>
              </a:spcBef>
              <a:buFontTx/>
              <a:buChar char="-"/>
            </a:pP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</a:rPr>
              <a:t>Р</a:t>
            </a: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аботы выполнены безопасно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</a:rPr>
              <a:t>, без несчастных случаев</a:t>
            </a:r>
            <a:r>
              <a:rPr lang="en-US" sz="12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;</a:t>
            </a:r>
            <a:endParaRPr lang="ru-RU" sz="1200" dirty="0" smtClean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171450" indent="-171450">
              <a:spcBef>
                <a:spcPts val="330"/>
              </a:spcBef>
              <a:buFontTx/>
              <a:buChar char="-"/>
            </a:pP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Соблюдены требования промышленной безопасности</a:t>
            </a:r>
            <a:r>
              <a:rPr lang="en-US" sz="12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;</a:t>
            </a:r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171450" indent="-171450">
              <a:spcBef>
                <a:spcPts val="330"/>
              </a:spcBef>
              <a:buFontTx/>
              <a:buChar char="-"/>
            </a:pP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Ремонт завершен с опережением графика</a:t>
            </a:r>
            <a:r>
              <a:rPr lang="en-US" sz="12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;</a:t>
            </a:r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171450" indent="-171450">
              <a:spcBef>
                <a:spcPts val="330"/>
              </a:spcBef>
              <a:buFontTx/>
              <a:buChar char="-"/>
            </a:pP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</a:rPr>
              <a:t>В</a:t>
            </a: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се основные запланированные 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</a:rPr>
              <a:t>объемы </a:t>
            </a: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работ выполнены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</a:rPr>
              <a:t>.</a:t>
            </a:r>
          </a:p>
          <a:p>
            <a:pPr>
              <a:spcBef>
                <a:spcPts val="300"/>
              </a:spcBef>
            </a:pPr>
            <a:endParaRPr lang="ru-RU" sz="400" dirty="0" smtClean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>
              <a:spcBef>
                <a:spcPts val="300"/>
              </a:spcBef>
            </a:pPr>
            <a:endParaRPr lang="ru-RU" sz="4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>
              <a:spcBef>
                <a:spcPts val="330"/>
              </a:spcBef>
            </a:pP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УКРУПНЕННЫЙ ПЕРЕЧЕНЬ ВЫПОЛНЕННЫХ РАБОТ:</a:t>
            </a:r>
          </a:p>
          <a:p>
            <a:pPr marL="171450" indent="-171450">
              <a:spcBef>
                <a:spcPts val="330"/>
              </a:spcBef>
              <a:buFontTx/>
              <a:buChar char="-"/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Замена внутренних устройств колонн К-8, К-105, К-402, К-601/1 – 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4 единицы</a:t>
            </a:r>
            <a:r>
              <a:rPr lang="en-US" sz="11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;</a:t>
            </a:r>
            <a:endParaRPr lang="ru-RU" sz="11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171450" indent="-171450">
              <a:spcBef>
                <a:spcPts val="330"/>
              </a:spcBef>
              <a:buFontTx/>
              <a:buChar char="-"/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Замена трубных пучков –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7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единиц</a:t>
            </a:r>
            <a:r>
              <a:rPr lang="en-US" sz="11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;</a:t>
            </a:r>
            <a:endParaRPr lang="ru-RU" sz="11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171450" indent="-171450">
              <a:spcBef>
                <a:spcPts val="330"/>
              </a:spcBef>
              <a:buFontTx/>
              <a:buChar char="-"/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Ремонт компенсатора </a:t>
            </a:r>
            <a:r>
              <a:rPr lang="en-US" sz="1100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Belman</a:t>
            </a: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с заменой линз –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1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единица</a:t>
            </a:r>
            <a:r>
              <a:rPr lang="en-US" sz="11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;</a:t>
            </a:r>
            <a:endParaRPr lang="ru-RU" sz="1100" b="1" dirty="0" smtClean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171450" indent="-171450">
              <a:spcBef>
                <a:spcPts val="330"/>
              </a:spcBef>
              <a:buFontTx/>
              <a:buChar char="-"/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Переход на систему двух клапанов (СППК) – 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55 единиц</a:t>
            </a:r>
            <a:r>
              <a:rPr lang="en-US" sz="11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;</a:t>
            </a:r>
            <a:endParaRPr lang="ru-RU" sz="11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171450" indent="-171450">
              <a:spcBef>
                <a:spcPts val="330"/>
              </a:spcBef>
              <a:buFontTx/>
              <a:buChar char="-"/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Заменена металлическая дымовая труба на УЗК – 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75 погонных метров</a:t>
            </a:r>
            <a:r>
              <a:rPr lang="en-US" sz="11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;</a:t>
            </a:r>
            <a:endParaRPr lang="ru-RU" sz="1100" b="1" dirty="0" smtClean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171450" indent="-171450">
              <a:spcBef>
                <a:spcPts val="330"/>
              </a:spcBef>
              <a:buFontTx/>
              <a:buChar char="-"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Замена конвекции печи П-2 УЗК –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1 единица</a:t>
            </a:r>
            <a:r>
              <a:rPr lang="en-US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;</a:t>
            </a:r>
            <a:endParaRPr lang="ru-RU" sz="11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171450" indent="-171450">
              <a:spcBef>
                <a:spcPts val="330"/>
              </a:spcBef>
              <a:buFontTx/>
              <a:buChar char="-"/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Ремонт футеровки дымовой трубы УПБ – 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290 м</a:t>
            </a:r>
            <a:r>
              <a:rPr lang="ru-RU" sz="1400" b="1" baseline="300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2</a:t>
            </a:r>
            <a:r>
              <a:rPr lang="en-US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;</a:t>
            </a:r>
            <a:endParaRPr lang="ru-RU" sz="11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171450" indent="-171450">
              <a:spcBef>
                <a:spcPts val="330"/>
              </a:spcBef>
              <a:buFontTx/>
              <a:buChar char="-"/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Замена продуктового змеевика печи П-102, П-301/1 ПППН –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2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единицы</a:t>
            </a:r>
            <a:r>
              <a:rPr lang="en-US" sz="11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;</a:t>
            </a:r>
            <a:endParaRPr lang="ru-RU" sz="1100" b="1" dirty="0" smtClean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171450" indent="-171450">
              <a:spcBef>
                <a:spcPts val="330"/>
              </a:spcBef>
              <a:buFontTx/>
              <a:buChar char="-"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Замена катализатора/адсорбента – </a:t>
            </a:r>
            <a:r>
              <a:rPr lang="en-US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318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тонн</a:t>
            </a:r>
            <a:r>
              <a:rPr lang="en-US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;</a:t>
            </a:r>
            <a:endParaRPr lang="ru-RU" sz="11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171450" indent="-171450">
              <a:spcBef>
                <a:spcPts val="330"/>
              </a:spcBef>
              <a:buFontTx/>
              <a:buChar char="-"/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Техническое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освидетельствование аппаратов –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359 единиц</a:t>
            </a:r>
            <a:r>
              <a:rPr lang="en-US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;</a:t>
            </a:r>
            <a:endParaRPr lang="ru-RU" sz="11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171450" indent="-171450">
              <a:spcBef>
                <a:spcPts val="330"/>
              </a:spcBef>
              <a:buFontTx/>
              <a:buChar char="-"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Ревизия технологических печей –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16 единиц</a:t>
            </a:r>
            <a:r>
              <a:rPr lang="en-US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;</a:t>
            </a:r>
            <a:endParaRPr lang="ru-RU" sz="11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171450" indent="-171450">
              <a:spcBef>
                <a:spcPts val="330"/>
              </a:spcBef>
              <a:buFontTx/>
              <a:buChar char="-"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Ревизия трубопроводов –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1019 единиц (153 472 погонных метров)</a:t>
            </a:r>
            <a:r>
              <a:rPr lang="en-US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;</a:t>
            </a:r>
          </a:p>
          <a:p>
            <a:pPr marL="171450" indent="-171450">
              <a:spcBef>
                <a:spcPts val="330"/>
              </a:spcBef>
              <a:buFontTx/>
              <a:buChar char="-"/>
            </a:pPr>
            <a:r>
              <a:rPr lang="ru-RU" sz="11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Замена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статического оборудования –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9 аппаратов</a:t>
            </a:r>
            <a:r>
              <a:rPr lang="en-US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;</a:t>
            </a:r>
            <a:endParaRPr lang="ru-RU" sz="11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171450" indent="-171450">
              <a:spcBef>
                <a:spcPts val="330"/>
              </a:spcBef>
              <a:buFontTx/>
              <a:buChar char="-"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Замена динамического оборудования –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6 единиц</a:t>
            </a:r>
            <a:r>
              <a:rPr lang="en-US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;</a:t>
            </a:r>
            <a:endParaRPr lang="ru-RU" sz="11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171450" indent="-171450">
              <a:spcBef>
                <a:spcPts val="330"/>
              </a:spcBef>
              <a:buFontTx/>
              <a:buChar char="-"/>
            </a:pPr>
            <a:endParaRPr lang="ru-RU" sz="11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2390872"/>
              </p:ext>
            </p:extLst>
          </p:nvPr>
        </p:nvGraphicFramePr>
        <p:xfrm>
          <a:off x="6086719" y="5601660"/>
          <a:ext cx="5993337" cy="1013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23122">
                  <a:extLst>
                    <a:ext uri="{9D8B030D-6E8A-4147-A177-3AD203B41FA5}">
                      <a16:colId xmlns:a16="http://schemas.microsoft.com/office/drawing/2014/main" val="2756416697"/>
                    </a:ext>
                  </a:extLst>
                </a:gridCol>
                <a:gridCol w="2123122">
                  <a:extLst>
                    <a:ext uri="{9D8B030D-6E8A-4147-A177-3AD203B41FA5}">
                      <a16:colId xmlns:a16="http://schemas.microsoft.com/office/drawing/2014/main" val="820999022"/>
                    </a:ext>
                  </a:extLst>
                </a:gridCol>
                <a:gridCol w="1747093">
                  <a:extLst>
                    <a:ext uri="{9D8B030D-6E8A-4147-A177-3AD203B41FA5}">
                      <a16:colId xmlns:a16="http://schemas.microsoft.com/office/drawing/2014/main" val="2661254981"/>
                    </a:ext>
                  </a:extLst>
                </a:gridCol>
              </a:tblGrid>
              <a:tr h="412132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200" b="1" i="0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ИНФОРМАЦИЯ ПО КОЛИЧЕСТВУ ЗАДЕЙСТВОВАННОЙ</a:t>
                      </a:r>
                      <a:r>
                        <a:rPr lang="ru-RU" sz="1200" b="1" i="0" kern="12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СПЕЦТЕХНИКИ</a:t>
                      </a:r>
                      <a:endParaRPr lang="ru-RU" sz="1200" b="1" i="0" kern="120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400" b="1" kern="120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400" b="1" kern="120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2674670"/>
                  </a:ext>
                </a:extLst>
              </a:tr>
              <a:tr h="2486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Автокраны</a:t>
                      </a:r>
                      <a:endParaRPr lang="ru-RU" sz="1200" b="1" i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Автовышк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kern="1200" dirty="0" err="1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Спецтралы</a:t>
                      </a:r>
                      <a:endParaRPr lang="ru-RU" sz="1200" b="1" i="0" kern="120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3250674"/>
                  </a:ext>
                </a:extLst>
              </a:tr>
              <a:tr h="352423">
                <a:tc>
                  <a:txBody>
                    <a:bodyPr/>
                    <a:lstStyle/>
                    <a:p>
                      <a:pPr marL="180000" algn="ctr" fontAlgn="b"/>
                      <a:r>
                        <a:rPr lang="ru-RU" sz="1600" b="1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3</a:t>
                      </a:r>
                      <a:endParaRPr lang="ru-RU" sz="1600" b="1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000" algn="ctr" fontAlgn="b"/>
                      <a:r>
                        <a:rPr lang="ru-RU" sz="1600" b="1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</a:t>
                      </a:r>
                      <a:endParaRPr lang="ru-RU" sz="1600" b="1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kern="120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</a:t>
                      </a:r>
                      <a:endParaRPr lang="ru-RU" sz="1600" b="1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8507961"/>
                  </a:ext>
                </a:extLst>
              </a:tr>
            </a:tbl>
          </a:graphicData>
        </a:graphic>
      </p:graphicFrame>
      <p:grpSp>
        <p:nvGrpSpPr>
          <p:cNvPr id="11" name="Группа 10"/>
          <p:cNvGrpSpPr/>
          <p:nvPr/>
        </p:nvGrpSpPr>
        <p:grpSpPr>
          <a:xfrm>
            <a:off x="2911088" y="1982142"/>
            <a:ext cx="320199" cy="275376"/>
            <a:chOff x="136051" y="1391752"/>
            <a:chExt cx="419286" cy="434523"/>
          </a:xfrm>
        </p:grpSpPr>
        <p:sp>
          <p:nvSpPr>
            <p:cNvPr id="13" name="Овал 12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/>
          </p:nvSpPr>
          <p:spPr>
            <a:xfrm>
              <a:off x="136051" y="1391752"/>
              <a:ext cx="419286" cy="434523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14" name="Freeform 99"/>
            <p:cNvSpPr>
              <a:spLocks noEditPoints="1"/>
            </p:cNvSpPr>
            <p:nvPr/>
          </p:nvSpPr>
          <p:spPr bwMode="auto">
            <a:xfrm>
              <a:off x="199092" y="1465786"/>
              <a:ext cx="292599" cy="293167"/>
            </a:xfrm>
            <a:custGeom>
              <a:avLst/>
              <a:gdLst>
                <a:gd name="T0" fmla="*/ 0 w 714"/>
                <a:gd name="T1" fmla="*/ 357 h 715"/>
                <a:gd name="T2" fmla="*/ 714 w 714"/>
                <a:gd name="T3" fmla="*/ 357 h 715"/>
                <a:gd name="T4" fmla="*/ 357 w 714"/>
                <a:gd name="T5" fmla="*/ 14 h 715"/>
                <a:gd name="T6" fmla="*/ 357 w 714"/>
                <a:gd name="T7" fmla="*/ 701 h 715"/>
                <a:gd name="T8" fmla="*/ 357 w 714"/>
                <a:gd name="T9" fmla="*/ 14 h 715"/>
                <a:gd name="T10" fmla="*/ 272 w 714"/>
                <a:gd name="T11" fmla="*/ 358 h 715"/>
                <a:gd name="T12" fmla="*/ 442 w 714"/>
                <a:gd name="T13" fmla="*/ 358 h 715"/>
                <a:gd name="T14" fmla="*/ 357 w 714"/>
                <a:gd name="T15" fmla="*/ 287 h 715"/>
                <a:gd name="T16" fmla="*/ 357 w 714"/>
                <a:gd name="T17" fmla="*/ 428 h 715"/>
                <a:gd name="T18" fmla="*/ 357 w 714"/>
                <a:gd name="T19" fmla="*/ 287 h 715"/>
                <a:gd name="T20" fmla="*/ 364 w 714"/>
                <a:gd name="T21" fmla="*/ 7 h 715"/>
                <a:gd name="T22" fmla="*/ 350 w 714"/>
                <a:gd name="T23" fmla="*/ 7 h 715"/>
                <a:gd name="T24" fmla="*/ 357 w 714"/>
                <a:gd name="T25" fmla="*/ 111 h 715"/>
                <a:gd name="T26" fmla="*/ 364 w 714"/>
                <a:gd name="T27" fmla="*/ 708 h 715"/>
                <a:gd name="T28" fmla="*/ 357 w 714"/>
                <a:gd name="T29" fmla="*/ 604 h 715"/>
                <a:gd name="T30" fmla="*/ 350 w 714"/>
                <a:gd name="T31" fmla="*/ 708 h 715"/>
                <a:gd name="T32" fmla="*/ 364 w 714"/>
                <a:gd name="T33" fmla="*/ 708 h 715"/>
                <a:gd name="T34" fmla="*/ 707 w 714"/>
                <a:gd name="T35" fmla="*/ 351 h 715"/>
                <a:gd name="T36" fmla="*/ 603 w 714"/>
                <a:gd name="T37" fmla="*/ 358 h 715"/>
                <a:gd name="T38" fmla="*/ 707 w 714"/>
                <a:gd name="T39" fmla="*/ 365 h 715"/>
                <a:gd name="T40" fmla="*/ 111 w 714"/>
                <a:gd name="T41" fmla="*/ 358 h 715"/>
                <a:gd name="T42" fmla="*/ 7 w 714"/>
                <a:gd name="T43" fmla="*/ 351 h 715"/>
                <a:gd name="T44" fmla="*/ 7 w 714"/>
                <a:gd name="T45" fmla="*/ 365 h 715"/>
                <a:gd name="T46" fmla="*/ 111 w 714"/>
                <a:gd name="T47" fmla="*/ 358 h 715"/>
                <a:gd name="T48" fmla="*/ 364 w 714"/>
                <a:gd name="T49" fmla="*/ 249 h 715"/>
                <a:gd name="T50" fmla="*/ 350 w 714"/>
                <a:gd name="T51" fmla="*/ 249 h 715"/>
                <a:gd name="T52" fmla="*/ 357 w 714"/>
                <a:gd name="T53" fmla="*/ 286 h 715"/>
                <a:gd name="T54" fmla="*/ 364 w 714"/>
                <a:gd name="T55" fmla="*/ 466 h 715"/>
                <a:gd name="T56" fmla="*/ 357 w 714"/>
                <a:gd name="T57" fmla="*/ 429 h 715"/>
                <a:gd name="T58" fmla="*/ 350 w 714"/>
                <a:gd name="T59" fmla="*/ 466 h 715"/>
                <a:gd name="T60" fmla="*/ 364 w 714"/>
                <a:gd name="T61" fmla="*/ 466 h 715"/>
                <a:gd name="T62" fmla="*/ 466 w 714"/>
                <a:gd name="T63" fmla="*/ 351 h 715"/>
                <a:gd name="T64" fmla="*/ 429 w 714"/>
                <a:gd name="T65" fmla="*/ 358 h 715"/>
                <a:gd name="T66" fmla="*/ 466 w 714"/>
                <a:gd name="T67" fmla="*/ 365 h 715"/>
                <a:gd name="T68" fmla="*/ 286 w 714"/>
                <a:gd name="T69" fmla="*/ 358 h 715"/>
                <a:gd name="T70" fmla="*/ 249 w 714"/>
                <a:gd name="T71" fmla="*/ 351 h 715"/>
                <a:gd name="T72" fmla="*/ 249 w 714"/>
                <a:gd name="T73" fmla="*/ 365 h 715"/>
                <a:gd name="T74" fmla="*/ 286 w 714"/>
                <a:gd name="T75" fmla="*/ 358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14" h="715">
                  <a:moveTo>
                    <a:pt x="357" y="715"/>
                  </a:moveTo>
                  <a:cubicBezTo>
                    <a:pt x="160" y="715"/>
                    <a:pt x="0" y="554"/>
                    <a:pt x="0" y="357"/>
                  </a:cubicBezTo>
                  <a:cubicBezTo>
                    <a:pt x="0" y="161"/>
                    <a:pt x="160" y="0"/>
                    <a:pt x="357" y="0"/>
                  </a:cubicBezTo>
                  <a:cubicBezTo>
                    <a:pt x="554" y="0"/>
                    <a:pt x="714" y="161"/>
                    <a:pt x="714" y="357"/>
                  </a:cubicBezTo>
                  <a:cubicBezTo>
                    <a:pt x="714" y="554"/>
                    <a:pt x="554" y="715"/>
                    <a:pt x="357" y="715"/>
                  </a:cubicBezTo>
                  <a:close/>
                  <a:moveTo>
                    <a:pt x="357" y="14"/>
                  </a:moveTo>
                  <a:cubicBezTo>
                    <a:pt x="168" y="14"/>
                    <a:pt x="14" y="168"/>
                    <a:pt x="14" y="357"/>
                  </a:cubicBezTo>
                  <a:cubicBezTo>
                    <a:pt x="14" y="547"/>
                    <a:pt x="168" y="701"/>
                    <a:pt x="357" y="701"/>
                  </a:cubicBezTo>
                  <a:cubicBezTo>
                    <a:pt x="546" y="701"/>
                    <a:pt x="700" y="547"/>
                    <a:pt x="700" y="357"/>
                  </a:cubicBezTo>
                  <a:cubicBezTo>
                    <a:pt x="700" y="168"/>
                    <a:pt x="546" y="14"/>
                    <a:pt x="357" y="14"/>
                  </a:cubicBezTo>
                  <a:close/>
                  <a:moveTo>
                    <a:pt x="357" y="442"/>
                  </a:moveTo>
                  <a:cubicBezTo>
                    <a:pt x="310" y="442"/>
                    <a:pt x="272" y="404"/>
                    <a:pt x="272" y="358"/>
                  </a:cubicBezTo>
                  <a:cubicBezTo>
                    <a:pt x="272" y="311"/>
                    <a:pt x="310" y="273"/>
                    <a:pt x="357" y="273"/>
                  </a:cubicBezTo>
                  <a:cubicBezTo>
                    <a:pt x="404" y="273"/>
                    <a:pt x="442" y="311"/>
                    <a:pt x="442" y="358"/>
                  </a:cubicBezTo>
                  <a:cubicBezTo>
                    <a:pt x="442" y="404"/>
                    <a:pt x="404" y="442"/>
                    <a:pt x="357" y="442"/>
                  </a:cubicBezTo>
                  <a:close/>
                  <a:moveTo>
                    <a:pt x="357" y="287"/>
                  </a:moveTo>
                  <a:cubicBezTo>
                    <a:pt x="318" y="287"/>
                    <a:pt x="286" y="318"/>
                    <a:pt x="286" y="358"/>
                  </a:cubicBezTo>
                  <a:cubicBezTo>
                    <a:pt x="286" y="397"/>
                    <a:pt x="318" y="428"/>
                    <a:pt x="357" y="428"/>
                  </a:cubicBezTo>
                  <a:cubicBezTo>
                    <a:pt x="396" y="428"/>
                    <a:pt x="428" y="397"/>
                    <a:pt x="428" y="358"/>
                  </a:cubicBezTo>
                  <a:cubicBezTo>
                    <a:pt x="428" y="318"/>
                    <a:pt x="396" y="287"/>
                    <a:pt x="357" y="287"/>
                  </a:cubicBezTo>
                  <a:close/>
                  <a:moveTo>
                    <a:pt x="364" y="104"/>
                  </a:moveTo>
                  <a:cubicBezTo>
                    <a:pt x="364" y="7"/>
                    <a:pt x="364" y="7"/>
                    <a:pt x="364" y="7"/>
                  </a:cubicBezTo>
                  <a:cubicBezTo>
                    <a:pt x="364" y="4"/>
                    <a:pt x="361" y="0"/>
                    <a:pt x="357" y="0"/>
                  </a:cubicBezTo>
                  <a:cubicBezTo>
                    <a:pt x="353" y="0"/>
                    <a:pt x="350" y="4"/>
                    <a:pt x="350" y="7"/>
                  </a:cubicBezTo>
                  <a:cubicBezTo>
                    <a:pt x="350" y="104"/>
                    <a:pt x="350" y="104"/>
                    <a:pt x="350" y="104"/>
                  </a:cubicBezTo>
                  <a:cubicBezTo>
                    <a:pt x="350" y="108"/>
                    <a:pt x="353" y="111"/>
                    <a:pt x="357" y="111"/>
                  </a:cubicBezTo>
                  <a:cubicBezTo>
                    <a:pt x="361" y="111"/>
                    <a:pt x="364" y="108"/>
                    <a:pt x="364" y="104"/>
                  </a:cubicBezTo>
                  <a:close/>
                  <a:moveTo>
                    <a:pt x="364" y="708"/>
                  </a:moveTo>
                  <a:cubicBezTo>
                    <a:pt x="364" y="611"/>
                    <a:pt x="364" y="611"/>
                    <a:pt x="364" y="611"/>
                  </a:cubicBezTo>
                  <a:cubicBezTo>
                    <a:pt x="364" y="607"/>
                    <a:pt x="361" y="604"/>
                    <a:pt x="357" y="604"/>
                  </a:cubicBezTo>
                  <a:cubicBezTo>
                    <a:pt x="353" y="604"/>
                    <a:pt x="350" y="607"/>
                    <a:pt x="350" y="611"/>
                  </a:cubicBezTo>
                  <a:cubicBezTo>
                    <a:pt x="350" y="708"/>
                    <a:pt x="350" y="708"/>
                    <a:pt x="350" y="708"/>
                  </a:cubicBezTo>
                  <a:cubicBezTo>
                    <a:pt x="350" y="711"/>
                    <a:pt x="353" y="715"/>
                    <a:pt x="357" y="715"/>
                  </a:cubicBezTo>
                  <a:cubicBezTo>
                    <a:pt x="361" y="715"/>
                    <a:pt x="364" y="711"/>
                    <a:pt x="364" y="708"/>
                  </a:cubicBezTo>
                  <a:close/>
                  <a:moveTo>
                    <a:pt x="714" y="358"/>
                  </a:moveTo>
                  <a:cubicBezTo>
                    <a:pt x="714" y="354"/>
                    <a:pt x="711" y="351"/>
                    <a:pt x="707" y="351"/>
                  </a:cubicBezTo>
                  <a:cubicBezTo>
                    <a:pt x="610" y="351"/>
                    <a:pt x="610" y="351"/>
                    <a:pt x="610" y="351"/>
                  </a:cubicBezTo>
                  <a:cubicBezTo>
                    <a:pt x="606" y="351"/>
                    <a:pt x="603" y="354"/>
                    <a:pt x="603" y="358"/>
                  </a:cubicBezTo>
                  <a:cubicBezTo>
                    <a:pt x="603" y="361"/>
                    <a:pt x="606" y="365"/>
                    <a:pt x="610" y="365"/>
                  </a:cubicBezTo>
                  <a:cubicBezTo>
                    <a:pt x="707" y="365"/>
                    <a:pt x="707" y="365"/>
                    <a:pt x="707" y="365"/>
                  </a:cubicBezTo>
                  <a:cubicBezTo>
                    <a:pt x="711" y="365"/>
                    <a:pt x="714" y="361"/>
                    <a:pt x="714" y="358"/>
                  </a:cubicBezTo>
                  <a:close/>
                  <a:moveTo>
                    <a:pt x="111" y="358"/>
                  </a:moveTo>
                  <a:cubicBezTo>
                    <a:pt x="111" y="354"/>
                    <a:pt x="108" y="351"/>
                    <a:pt x="104" y="351"/>
                  </a:cubicBezTo>
                  <a:cubicBezTo>
                    <a:pt x="7" y="351"/>
                    <a:pt x="7" y="351"/>
                    <a:pt x="7" y="351"/>
                  </a:cubicBezTo>
                  <a:cubicBezTo>
                    <a:pt x="3" y="351"/>
                    <a:pt x="0" y="354"/>
                    <a:pt x="0" y="358"/>
                  </a:cubicBezTo>
                  <a:cubicBezTo>
                    <a:pt x="0" y="361"/>
                    <a:pt x="3" y="365"/>
                    <a:pt x="7" y="365"/>
                  </a:cubicBezTo>
                  <a:cubicBezTo>
                    <a:pt x="104" y="365"/>
                    <a:pt x="104" y="365"/>
                    <a:pt x="104" y="365"/>
                  </a:cubicBezTo>
                  <a:cubicBezTo>
                    <a:pt x="108" y="365"/>
                    <a:pt x="111" y="361"/>
                    <a:pt x="111" y="358"/>
                  </a:cubicBezTo>
                  <a:close/>
                  <a:moveTo>
                    <a:pt x="364" y="279"/>
                  </a:moveTo>
                  <a:cubicBezTo>
                    <a:pt x="364" y="249"/>
                    <a:pt x="364" y="249"/>
                    <a:pt x="364" y="249"/>
                  </a:cubicBezTo>
                  <a:cubicBezTo>
                    <a:pt x="364" y="245"/>
                    <a:pt x="361" y="242"/>
                    <a:pt x="357" y="242"/>
                  </a:cubicBezTo>
                  <a:cubicBezTo>
                    <a:pt x="353" y="242"/>
                    <a:pt x="350" y="245"/>
                    <a:pt x="350" y="249"/>
                  </a:cubicBezTo>
                  <a:cubicBezTo>
                    <a:pt x="350" y="279"/>
                    <a:pt x="350" y="279"/>
                    <a:pt x="350" y="279"/>
                  </a:cubicBezTo>
                  <a:cubicBezTo>
                    <a:pt x="350" y="283"/>
                    <a:pt x="353" y="286"/>
                    <a:pt x="357" y="286"/>
                  </a:cubicBezTo>
                  <a:cubicBezTo>
                    <a:pt x="361" y="286"/>
                    <a:pt x="364" y="283"/>
                    <a:pt x="364" y="279"/>
                  </a:cubicBezTo>
                  <a:close/>
                  <a:moveTo>
                    <a:pt x="364" y="466"/>
                  </a:moveTo>
                  <a:cubicBezTo>
                    <a:pt x="364" y="436"/>
                    <a:pt x="364" y="436"/>
                    <a:pt x="364" y="436"/>
                  </a:cubicBezTo>
                  <a:cubicBezTo>
                    <a:pt x="364" y="432"/>
                    <a:pt x="361" y="429"/>
                    <a:pt x="357" y="429"/>
                  </a:cubicBezTo>
                  <a:cubicBezTo>
                    <a:pt x="353" y="429"/>
                    <a:pt x="350" y="432"/>
                    <a:pt x="350" y="436"/>
                  </a:cubicBezTo>
                  <a:cubicBezTo>
                    <a:pt x="350" y="466"/>
                    <a:pt x="350" y="466"/>
                    <a:pt x="350" y="466"/>
                  </a:cubicBezTo>
                  <a:cubicBezTo>
                    <a:pt x="350" y="470"/>
                    <a:pt x="353" y="473"/>
                    <a:pt x="357" y="473"/>
                  </a:cubicBezTo>
                  <a:cubicBezTo>
                    <a:pt x="361" y="473"/>
                    <a:pt x="364" y="470"/>
                    <a:pt x="364" y="466"/>
                  </a:cubicBezTo>
                  <a:close/>
                  <a:moveTo>
                    <a:pt x="473" y="358"/>
                  </a:moveTo>
                  <a:cubicBezTo>
                    <a:pt x="473" y="354"/>
                    <a:pt x="470" y="351"/>
                    <a:pt x="466" y="351"/>
                  </a:cubicBezTo>
                  <a:cubicBezTo>
                    <a:pt x="436" y="351"/>
                    <a:pt x="436" y="351"/>
                    <a:pt x="436" y="351"/>
                  </a:cubicBezTo>
                  <a:cubicBezTo>
                    <a:pt x="432" y="351"/>
                    <a:pt x="429" y="354"/>
                    <a:pt x="429" y="358"/>
                  </a:cubicBezTo>
                  <a:cubicBezTo>
                    <a:pt x="429" y="361"/>
                    <a:pt x="432" y="365"/>
                    <a:pt x="436" y="365"/>
                  </a:cubicBezTo>
                  <a:cubicBezTo>
                    <a:pt x="466" y="365"/>
                    <a:pt x="466" y="365"/>
                    <a:pt x="466" y="365"/>
                  </a:cubicBezTo>
                  <a:cubicBezTo>
                    <a:pt x="470" y="365"/>
                    <a:pt x="473" y="361"/>
                    <a:pt x="473" y="358"/>
                  </a:cubicBezTo>
                  <a:close/>
                  <a:moveTo>
                    <a:pt x="286" y="358"/>
                  </a:moveTo>
                  <a:cubicBezTo>
                    <a:pt x="286" y="354"/>
                    <a:pt x="282" y="351"/>
                    <a:pt x="279" y="351"/>
                  </a:cubicBezTo>
                  <a:cubicBezTo>
                    <a:pt x="249" y="351"/>
                    <a:pt x="249" y="351"/>
                    <a:pt x="249" y="351"/>
                  </a:cubicBezTo>
                  <a:cubicBezTo>
                    <a:pt x="245" y="351"/>
                    <a:pt x="242" y="354"/>
                    <a:pt x="242" y="358"/>
                  </a:cubicBezTo>
                  <a:cubicBezTo>
                    <a:pt x="242" y="361"/>
                    <a:pt x="245" y="365"/>
                    <a:pt x="249" y="365"/>
                  </a:cubicBezTo>
                  <a:cubicBezTo>
                    <a:pt x="279" y="365"/>
                    <a:pt x="279" y="365"/>
                    <a:pt x="279" y="365"/>
                  </a:cubicBezTo>
                  <a:cubicBezTo>
                    <a:pt x="282" y="365"/>
                    <a:pt x="286" y="361"/>
                    <a:pt x="286" y="35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" name="Группа 14"/>
          <p:cNvGrpSpPr/>
          <p:nvPr/>
        </p:nvGrpSpPr>
        <p:grpSpPr>
          <a:xfrm>
            <a:off x="5606424" y="858705"/>
            <a:ext cx="320197" cy="275376"/>
            <a:chOff x="151990" y="1375424"/>
            <a:chExt cx="320197" cy="275376"/>
          </a:xfrm>
        </p:grpSpPr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/>
          </p:nvSpPr>
          <p:spPr>
            <a:xfrm>
              <a:off x="151990" y="1375424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17" name="Freeform 98"/>
            <p:cNvSpPr>
              <a:spLocks noEditPoints="1"/>
            </p:cNvSpPr>
            <p:nvPr/>
          </p:nvSpPr>
          <p:spPr bwMode="auto">
            <a:xfrm>
              <a:off x="188017" y="1411432"/>
              <a:ext cx="227256" cy="196697"/>
            </a:xfrm>
            <a:custGeom>
              <a:avLst/>
              <a:gdLst>
                <a:gd name="T0" fmla="*/ 486 w 714"/>
                <a:gd name="T1" fmla="*/ 214 h 715"/>
                <a:gd name="T2" fmla="*/ 375 w 714"/>
                <a:gd name="T3" fmla="*/ 329 h 715"/>
                <a:gd name="T4" fmla="*/ 357 w 714"/>
                <a:gd name="T5" fmla="*/ 324 h 715"/>
                <a:gd name="T6" fmla="*/ 342 w 714"/>
                <a:gd name="T7" fmla="*/ 327 h 715"/>
                <a:gd name="T8" fmla="*/ 183 w 714"/>
                <a:gd name="T9" fmla="*/ 124 h 715"/>
                <a:gd name="T10" fmla="*/ 173 w 714"/>
                <a:gd name="T11" fmla="*/ 123 h 715"/>
                <a:gd name="T12" fmla="*/ 172 w 714"/>
                <a:gd name="T13" fmla="*/ 133 h 715"/>
                <a:gd name="T14" fmla="*/ 331 w 714"/>
                <a:gd name="T15" fmla="*/ 336 h 715"/>
                <a:gd name="T16" fmla="*/ 323 w 714"/>
                <a:gd name="T17" fmla="*/ 358 h 715"/>
                <a:gd name="T18" fmla="*/ 357 w 714"/>
                <a:gd name="T19" fmla="*/ 391 h 715"/>
                <a:gd name="T20" fmla="*/ 390 w 714"/>
                <a:gd name="T21" fmla="*/ 358 h 715"/>
                <a:gd name="T22" fmla="*/ 385 w 714"/>
                <a:gd name="T23" fmla="*/ 339 h 715"/>
                <a:gd name="T24" fmla="*/ 496 w 714"/>
                <a:gd name="T25" fmla="*/ 223 h 715"/>
                <a:gd name="T26" fmla="*/ 496 w 714"/>
                <a:gd name="T27" fmla="*/ 213 h 715"/>
                <a:gd name="T28" fmla="*/ 486 w 714"/>
                <a:gd name="T29" fmla="*/ 214 h 715"/>
                <a:gd name="T30" fmla="*/ 357 w 714"/>
                <a:gd name="T31" fmla="*/ 377 h 715"/>
                <a:gd name="T32" fmla="*/ 337 w 714"/>
                <a:gd name="T33" fmla="*/ 358 h 715"/>
                <a:gd name="T34" fmla="*/ 357 w 714"/>
                <a:gd name="T35" fmla="*/ 338 h 715"/>
                <a:gd name="T36" fmla="*/ 376 w 714"/>
                <a:gd name="T37" fmla="*/ 358 h 715"/>
                <a:gd name="T38" fmla="*/ 357 w 714"/>
                <a:gd name="T39" fmla="*/ 377 h 715"/>
                <a:gd name="T40" fmla="*/ 714 w 714"/>
                <a:gd name="T41" fmla="*/ 358 h 715"/>
                <a:gd name="T42" fmla="*/ 714 w 714"/>
                <a:gd name="T43" fmla="*/ 358 h 715"/>
                <a:gd name="T44" fmla="*/ 357 w 714"/>
                <a:gd name="T45" fmla="*/ 0 h 715"/>
                <a:gd name="T46" fmla="*/ 357 w 714"/>
                <a:gd name="T47" fmla="*/ 0 h 715"/>
                <a:gd name="T48" fmla="*/ 357 w 714"/>
                <a:gd name="T49" fmla="*/ 0 h 715"/>
                <a:gd name="T50" fmla="*/ 357 w 714"/>
                <a:gd name="T51" fmla="*/ 0 h 715"/>
                <a:gd name="T52" fmla="*/ 0 w 714"/>
                <a:gd name="T53" fmla="*/ 358 h 715"/>
                <a:gd name="T54" fmla="*/ 0 w 714"/>
                <a:gd name="T55" fmla="*/ 358 h 715"/>
                <a:gd name="T56" fmla="*/ 0 w 714"/>
                <a:gd name="T57" fmla="*/ 358 h 715"/>
                <a:gd name="T58" fmla="*/ 0 w 714"/>
                <a:gd name="T59" fmla="*/ 358 h 715"/>
                <a:gd name="T60" fmla="*/ 357 w 714"/>
                <a:gd name="T61" fmla="*/ 715 h 715"/>
                <a:gd name="T62" fmla="*/ 357 w 714"/>
                <a:gd name="T63" fmla="*/ 715 h 715"/>
                <a:gd name="T64" fmla="*/ 357 w 714"/>
                <a:gd name="T65" fmla="*/ 715 h 715"/>
                <a:gd name="T66" fmla="*/ 357 w 714"/>
                <a:gd name="T67" fmla="*/ 715 h 715"/>
                <a:gd name="T68" fmla="*/ 714 w 714"/>
                <a:gd name="T69" fmla="*/ 358 h 715"/>
                <a:gd name="T70" fmla="*/ 714 w 714"/>
                <a:gd name="T71" fmla="*/ 358 h 715"/>
                <a:gd name="T72" fmla="*/ 364 w 714"/>
                <a:gd name="T73" fmla="*/ 700 h 715"/>
                <a:gd name="T74" fmla="*/ 364 w 714"/>
                <a:gd name="T75" fmla="*/ 662 h 715"/>
                <a:gd name="T76" fmla="*/ 357 w 714"/>
                <a:gd name="T77" fmla="*/ 655 h 715"/>
                <a:gd name="T78" fmla="*/ 350 w 714"/>
                <a:gd name="T79" fmla="*/ 662 h 715"/>
                <a:gd name="T80" fmla="*/ 350 w 714"/>
                <a:gd name="T81" fmla="*/ 700 h 715"/>
                <a:gd name="T82" fmla="*/ 14 w 714"/>
                <a:gd name="T83" fmla="*/ 365 h 715"/>
                <a:gd name="T84" fmla="*/ 52 w 714"/>
                <a:gd name="T85" fmla="*/ 365 h 715"/>
                <a:gd name="T86" fmla="*/ 59 w 714"/>
                <a:gd name="T87" fmla="*/ 358 h 715"/>
                <a:gd name="T88" fmla="*/ 52 w 714"/>
                <a:gd name="T89" fmla="*/ 351 h 715"/>
                <a:gd name="T90" fmla="*/ 14 w 714"/>
                <a:gd name="T91" fmla="*/ 351 h 715"/>
                <a:gd name="T92" fmla="*/ 350 w 714"/>
                <a:gd name="T93" fmla="*/ 15 h 715"/>
                <a:gd name="T94" fmla="*/ 350 w 714"/>
                <a:gd name="T95" fmla="*/ 53 h 715"/>
                <a:gd name="T96" fmla="*/ 357 w 714"/>
                <a:gd name="T97" fmla="*/ 60 h 715"/>
                <a:gd name="T98" fmla="*/ 364 w 714"/>
                <a:gd name="T99" fmla="*/ 53 h 715"/>
                <a:gd name="T100" fmla="*/ 364 w 714"/>
                <a:gd name="T101" fmla="*/ 15 h 715"/>
                <a:gd name="T102" fmla="*/ 699 w 714"/>
                <a:gd name="T103" fmla="*/ 351 h 715"/>
                <a:gd name="T104" fmla="*/ 661 w 714"/>
                <a:gd name="T105" fmla="*/ 351 h 715"/>
                <a:gd name="T106" fmla="*/ 654 w 714"/>
                <a:gd name="T107" fmla="*/ 358 h 715"/>
                <a:gd name="T108" fmla="*/ 661 w 714"/>
                <a:gd name="T109" fmla="*/ 365 h 715"/>
                <a:gd name="T110" fmla="*/ 699 w 714"/>
                <a:gd name="T111" fmla="*/ 365 h 715"/>
                <a:gd name="T112" fmla="*/ 364 w 714"/>
                <a:gd name="T113" fmla="*/ 700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4" h="715">
                  <a:moveTo>
                    <a:pt x="486" y="214"/>
                  </a:moveTo>
                  <a:cubicBezTo>
                    <a:pt x="375" y="329"/>
                    <a:pt x="375" y="329"/>
                    <a:pt x="375" y="329"/>
                  </a:cubicBezTo>
                  <a:cubicBezTo>
                    <a:pt x="369" y="326"/>
                    <a:pt x="363" y="324"/>
                    <a:pt x="357" y="324"/>
                  </a:cubicBezTo>
                  <a:cubicBezTo>
                    <a:pt x="351" y="324"/>
                    <a:pt x="346" y="325"/>
                    <a:pt x="342" y="327"/>
                  </a:cubicBezTo>
                  <a:cubicBezTo>
                    <a:pt x="183" y="124"/>
                    <a:pt x="183" y="124"/>
                    <a:pt x="183" y="124"/>
                  </a:cubicBezTo>
                  <a:cubicBezTo>
                    <a:pt x="180" y="121"/>
                    <a:pt x="176" y="121"/>
                    <a:pt x="173" y="123"/>
                  </a:cubicBezTo>
                  <a:cubicBezTo>
                    <a:pt x="170" y="126"/>
                    <a:pt x="169" y="130"/>
                    <a:pt x="172" y="133"/>
                  </a:cubicBezTo>
                  <a:cubicBezTo>
                    <a:pt x="331" y="336"/>
                    <a:pt x="331" y="336"/>
                    <a:pt x="331" y="336"/>
                  </a:cubicBezTo>
                  <a:cubicBezTo>
                    <a:pt x="326" y="342"/>
                    <a:pt x="323" y="349"/>
                    <a:pt x="323" y="358"/>
                  </a:cubicBezTo>
                  <a:cubicBezTo>
                    <a:pt x="323" y="376"/>
                    <a:pt x="338" y="391"/>
                    <a:pt x="357" y="391"/>
                  </a:cubicBezTo>
                  <a:cubicBezTo>
                    <a:pt x="375" y="391"/>
                    <a:pt x="390" y="376"/>
                    <a:pt x="390" y="358"/>
                  </a:cubicBezTo>
                  <a:cubicBezTo>
                    <a:pt x="390" y="351"/>
                    <a:pt x="388" y="344"/>
                    <a:pt x="385" y="339"/>
                  </a:cubicBezTo>
                  <a:cubicBezTo>
                    <a:pt x="496" y="223"/>
                    <a:pt x="496" y="223"/>
                    <a:pt x="496" y="223"/>
                  </a:cubicBezTo>
                  <a:cubicBezTo>
                    <a:pt x="499" y="220"/>
                    <a:pt x="499" y="216"/>
                    <a:pt x="496" y="213"/>
                  </a:cubicBezTo>
                  <a:cubicBezTo>
                    <a:pt x="493" y="211"/>
                    <a:pt x="489" y="211"/>
                    <a:pt x="486" y="214"/>
                  </a:cubicBezTo>
                  <a:close/>
                  <a:moveTo>
                    <a:pt x="357" y="377"/>
                  </a:moveTo>
                  <a:cubicBezTo>
                    <a:pt x="346" y="377"/>
                    <a:pt x="337" y="368"/>
                    <a:pt x="337" y="358"/>
                  </a:cubicBezTo>
                  <a:cubicBezTo>
                    <a:pt x="337" y="347"/>
                    <a:pt x="346" y="338"/>
                    <a:pt x="357" y="338"/>
                  </a:cubicBezTo>
                  <a:cubicBezTo>
                    <a:pt x="368" y="338"/>
                    <a:pt x="376" y="347"/>
                    <a:pt x="376" y="358"/>
                  </a:cubicBezTo>
                  <a:cubicBezTo>
                    <a:pt x="376" y="368"/>
                    <a:pt x="368" y="377"/>
                    <a:pt x="357" y="377"/>
                  </a:cubicBezTo>
                  <a:close/>
                  <a:moveTo>
                    <a:pt x="714" y="358"/>
                  </a:moveTo>
                  <a:cubicBezTo>
                    <a:pt x="714" y="358"/>
                    <a:pt x="714" y="358"/>
                    <a:pt x="714" y="358"/>
                  </a:cubicBezTo>
                  <a:cubicBezTo>
                    <a:pt x="714" y="161"/>
                    <a:pt x="553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160" y="0"/>
                    <a:pt x="0" y="161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554"/>
                    <a:pt x="160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553" y="715"/>
                    <a:pt x="714" y="554"/>
                    <a:pt x="714" y="358"/>
                  </a:cubicBezTo>
                  <a:cubicBezTo>
                    <a:pt x="714" y="358"/>
                    <a:pt x="714" y="358"/>
                    <a:pt x="714" y="358"/>
                  </a:cubicBezTo>
                  <a:close/>
                  <a:moveTo>
                    <a:pt x="364" y="700"/>
                  </a:moveTo>
                  <a:cubicBezTo>
                    <a:pt x="364" y="662"/>
                    <a:pt x="364" y="662"/>
                    <a:pt x="364" y="662"/>
                  </a:cubicBezTo>
                  <a:cubicBezTo>
                    <a:pt x="364" y="658"/>
                    <a:pt x="360" y="655"/>
                    <a:pt x="357" y="655"/>
                  </a:cubicBezTo>
                  <a:cubicBezTo>
                    <a:pt x="353" y="655"/>
                    <a:pt x="350" y="658"/>
                    <a:pt x="350" y="662"/>
                  </a:cubicBezTo>
                  <a:cubicBezTo>
                    <a:pt x="350" y="700"/>
                    <a:pt x="350" y="700"/>
                    <a:pt x="350" y="700"/>
                  </a:cubicBezTo>
                  <a:cubicBezTo>
                    <a:pt x="166" y="697"/>
                    <a:pt x="17" y="548"/>
                    <a:pt x="14" y="365"/>
                  </a:cubicBezTo>
                  <a:cubicBezTo>
                    <a:pt x="52" y="365"/>
                    <a:pt x="52" y="365"/>
                    <a:pt x="52" y="365"/>
                  </a:cubicBezTo>
                  <a:cubicBezTo>
                    <a:pt x="56" y="365"/>
                    <a:pt x="59" y="361"/>
                    <a:pt x="59" y="358"/>
                  </a:cubicBezTo>
                  <a:cubicBezTo>
                    <a:pt x="59" y="354"/>
                    <a:pt x="56" y="351"/>
                    <a:pt x="52" y="351"/>
                  </a:cubicBezTo>
                  <a:cubicBezTo>
                    <a:pt x="14" y="351"/>
                    <a:pt x="14" y="351"/>
                    <a:pt x="14" y="351"/>
                  </a:cubicBezTo>
                  <a:cubicBezTo>
                    <a:pt x="17" y="167"/>
                    <a:pt x="166" y="18"/>
                    <a:pt x="350" y="15"/>
                  </a:cubicBezTo>
                  <a:cubicBezTo>
                    <a:pt x="350" y="53"/>
                    <a:pt x="350" y="53"/>
                    <a:pt x="350" y="53"/>
                  </a:cubicBezTo>
                  <a:cubicBezTo>
                    <a:pt x="350" y="57"/>
                    <a:pt x="353" y="60"/>
                    <a:pt x="357" y="60"/>
                  </a:cubicBezTo>
                  <a:cubicBezTo>
                    <a:pt x="360" y="60"/>
                    <a:pt x="364" y="57"/>
                    <a:pt x="364" y="53"/>
                  </a:cubicBezTo>
                  <a:cubicBezTo>
                    <a:pt x="364" y="15"/>
                    <a:pt x="364" y="15"/>
                    <a:pt x="364" y="15"/>
                  </a:cubicBezTo>
                  <a:cubicBezTo>
                    <a:pt x="547" y="18"/>
                    <a:pt x="696" y="167"/>
                    <a:pt x="699" y="351"/>
                  </a:cubicBezTo>
                  <a:cubicBezTo>
                    <a:pt x="661" y="351"/>
                    <a:pt x="661" y="351"/>
                    <a:pt x="661" y="351"/>
                  </a:cubicBezTo>
                  <a:cubicBezTo>
                    <a:pt x="657" y="351"/>
                    <a:pt x="654" y="354"/>
                    <a:pt x="654" y="358"/>
                  </a:cubicBezTo>
                  <a:cubicBezTo>
                    <a:pt x="654" y="361"/>
                    <a:pt x="657" y="365"/>
                    <a:pt x="661" y="365"/>
                  </a:cubicBezTo>
                  <a:cubicBezTo>
                    <a:pt x="699" y="365"/>
                    <a:pt x="699" y="365"/>
                    <a:pt x="699" y="365"/>
                  </a:cubicBezTo>
                  <a:cubicBezTo>
                    <a:pt x="696" y="548"/>
                    <a:pt x="547" y="697"/>
                    <a:pt x="364" y="7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4434335" y="3327037"/>
            <a:ext cx="321886" cy="295434"/>
            <a:chOff x="132557" y="2285583"/>
            <a:chExt cx="359605" cy="335305"/>
          </a:xfrm>
        </p:grpSpPr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/>
          </p:nvSpPr>
          <p:spPr>
            <a:xfrm>
              <a:off x="132557" y="2285583"/>
              <a:ext cx="359605" cy="335305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20" name="Freeform 123"/>
            <p:cNvSpPr>
              <a:spLocks noEditPoints="1"/>
            </p:cNvSpPr>
            <p:nvPr/>
          </p:nvSpPr>
          <p:spPr bwMode="auto">
            <a:xfrm>
              <a:off x="180448" y="2330581"/>
              <a:ext cx="251745" cy="223589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8844522" y="5015601"/>
            <a:ext cx="320197" cy="275376"/>
            <a:chOff x="144952" y="2751503"/>
            <a:chExt cx="320197" cy="275376"/>
          </a:xfrm>
        </p:grpSpPr>
        <p:sp>
          <p:nvSpPr>
            <p:cNvPr id="22" name="Овал 21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/>
          </p:nvSpPr>
          <p:spPr>
            <a:xfrm>
              <a:off x="144952" y="2751503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grpSp>
          <p:nvGrpSpPr>
            <p:cNvPr id="23" name="Группа 22"/>
            <p:cNvGrpSpPr/>
            <p:nvPr/>
          </p:nvGrpSpPr>
          <p:grpSpPr>
            <a:xfrm>
              <a:off x="186863" y="2784728"/>
              <a:ext cx="233268" cy="168052"/>
              <a:chOff x="106498" y="1660238"/>
              <a:chExt cx="184763" cy="153786"/>
            </a:xfrm>
          </p:grpSpPr>
          <p:sp>
            <p:nvSpPr>
              <p:cNvPr id="24" name="Freeform 12"/>
              <p:cNvSpPr>
                <a:spLocks/>
              </p:cNvSpPr>
              <p:nvPr/>
            </p:nvSpPr>
            <p:spPr bwMode="auto">
              <a:xfrm>
                <a:off x="106498" y="1660238"/>
                <a:ext cx="124635" cy="153786"/>
              </a:xfrm>
              <a:custGeom>
                <a:avLst/>
                <a:gdLst>
                  <a:gd name="T0" fmla="*/ 8 w 150"/>
                  <a:gd name="T1" fmla="*/ 145 h 145"/>
                  <a:gd name="T2" fmla="*/ 19 w 150"/>
                  <a:gd name="T3" fmla="*/ 119 h 145"/>
                  <a:gd name="T4" fmla="*/ 57 w 150"/>
                  <a:gd name="T5" fmla="*/ 86 h 145"/>
                  <a:gd name="T6" fmla="*/ 38 w 150"/>
                  <a:gd name="T7" fmla="*/ 46 h 145"/>
                  <a:gd name="T8" fmla="*/ 77 w 150"/>
                  <a:gd name="T9" fmla="*/ 0 h 145"/>
                  <a:gd name="T10" fmla="*/ 114 w 150"/>
                  <a:gd name="T11" fmla="*/ 50 h 145"/>
                  <a:gd name="T12" fmla="*/ 96 w 150"/>
                  <a:gd name="T13" fmla="*/ 87 h 145"/>
                  <a:gd name="T14" fmla="*/ 136 w 150"/>
                  <a:gd name="T15" fmla="*/ 117 h 145"/>
                  <a:gd name="T16" fmla="*/ 150 w 150"/>
                  <a:gd name="T17" fmla="*/ 145 h 145"/>
                  <a:gd name="T18" fmla="*/ 8 w 150"/>
                  <a:gd name="T19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0" h="145">
                    <a:moveTo>
                      <a:pt x="8" y="145"/>
                    </a:moveTo>
                    <a:cubicBezTo>
                      <a:pt x="8" y="145"/>
                      <a:pt x="0" y="125"/>
                      <a:pt x="19" y="119"/>
                    </a:cubicBezTo>
                    <a:cubicBezTo>
                      <a:pt x="38" y="113"/>
                      <a:pt x="57" y="107"/>
                      <a:pt x="57" y="86"/>
                    </a:cubicBezTo>
                    <a:cubicBezTo>
                      <a:pt x="57" y="86"/>
                      <a:pt x="38" y="78"/>
                      <a:pt x="38" y="46"/>
                    </a:cubicBezTo>
                    <a:cubicBezTo>
                      <a:pt x="38" y="17"/>
                      <a:pt x="53" y="0"/>
                      <a:pt x="77" y="0"/>
                    </a:cubicBezTo>
                    <a:cubicBezTo>
                      <a:pt x="100" y="0"/>
                      <a:pt x="114" y="19"/>
                      <a:pt x="114" y="50"/>
                    </a:cubicBezTo>
                    <a:cubicBezTo>
                      <a:pt x="114" y="50"/>
                      <a:pt x="109" y="80"/>
                      <a:pt x="96" y="87"/>
                    </a:cubicBezTo>
                    <a:cubicBezTo>
                      <a:pt x="96" y="92"/>
                      <a:pt x="93" y="111"/>
                      <a:pt x="136" y="117"/>
                    </a:cubicBezTo>
                    <a:cubicBezTo>
                      <a:pt x="149" y="119"/>
                      <a:pt x="150" y="132"/>
                      <a:pt x="150" y="145"/>
                    </a:cubicBezTo>
                    <a:lnTo>
                      <a:pt x="8" y="14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3"/>
              <p:cNvSpPr>
                <a:spLocks/>
              </p:cNvSpPr>
              <p:nvPr/>
            </p:nvSpPr>
            <p:spPr bwMode="auto">
              <a:xfrm>
                <a:off x="210764" y="1689384"/>
                <a:ext cx="80497" cy="124640"/>
              </a:xfrm>
              <a:custGeom>
                <a:avLst/>
                <a:gdLst>
                  <a:gd name="T0" fmla="*/ 29 w 96"/>
                  <a:gd name="T1" fmla="*/ 125 h 125"/>
                  <a:gd name="T2" fmla="*/ 96 w 96"/>
                  <a:gd name="T3" fmla="*/ 125 h 125"/>
                  <a:gd name="T4" fmla="*/ 85 w 96"/>
                  <a:gd name="T5" fmla="*/ 101 h 125"/>
                  <a:gd name="T6" fmla="*/ 50 w 96"/>
                  <a:gd name="T7" fmla="*/ 75 h 125"/>
                  <a:gd name="T8" fmla="*/ 66 w 96"/>
                  <a:gd name="T9" fmla="*/ 42 h 125"/>
                  <a:gd name="T10" fmla="*/ 33 w 96"/>
                  <a:gd name="T11" fmla="*/ 0 h 125"/>
                  <a:gd name="T12" fmla="*/ 0 w 96"/>
                  <a:gd name="T13" fmla="*/ 39 h 125"/>
                  <a:gd name="T14" fmla="*/ 16 w 96"/>
                  <a:gd name="T15" fmla="*/ 74 h 125"/>
                  <a:gd name="T16" fmla="*/ 9 w 96"/>
                  <a:gd name="T17" fmla="*/ 89 h 125"/>
                  <a:gd name="T18" fmla="*/ 27 w 96"/>
                  <a:gd name="T19" fmla="*/ 104 h 125"/>
                  <a:gd name="T20" fmla="*/ 29 w 96"/>
                  <a:gd name="T21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6" h="125">
                    <a:moveTo>
                      <a:pt x="29" y="125"/>
                    </a:moveTo>
                    <a:cubicBezTo>
                      <a:pt x="96" y="125"/>
                      <a:pt x="96" y="125"/>
                      <a:pt x="96" y="125"/>
                    </a:cubicBezTo>
                    <a:cubicBezTo>
                      <a:pt x="96" y="113"/>
                      <a:pt x="96" y="102"/>
                      <a:pt x="85" y="101"/>
                    </a:cubicBezTo>
                    <a:cubicBezTo>
                      <a:pt x="48" y="95"/>
                      <a:pt x="51" y="79"/>
                      <a:pt x="50" y="75"/>
                    </a:cubicBezTo>
                    <a:cubicBezTo>
                      <a:pt x="61" y="68"/>
                      <a:pt x="66" y="42"/>
                      <a:pt x="66" y="42"/>
                    </a:cubicBezTo>
                    <a:cubicBezTo>
                      <a:pt x="66" y="16"/>
                      <a:pt x="54" y="0"/>
                      <a:pt x="33" y="0"/>
                    </a:cubicBezTo>
                    <a:cubicBezTo>
                      <a:pt x="13" y="0"/>
                      <a:pt x="0" y="14"/>
                      <a:pt x="0" y="39"/>
                    </a:cubicBezTo>
                    <a:cubicBezTo>
                      <a:pt x="0" y="66"/>
                      <a:pt x="16" y="74"/>
                      <a:pt x="16" y="74"/>
                    </a:cubicBezTo>
                    <a:cubicBezTo>
                      <a:pt x="16" y="82"/>
                      <a:pt x="13" y="87"/>
                      <a:pt x="9" y="89"/>
                    </a:cubicBezTo>
                    <a:cubicBezTo>
                      <a:pt x="9" y="89"/>
                      <a:pt x="23" y="92"/>
                      <a:pt x="27" y="104"/>
                    </a:cubicBezTo>
                    <a:cubicBezTo>
                      <a:pt x="30" y="113"/>
                      <a:pt x="29" y="125"/>
                      <a:pt x="29" y="1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Line 9"/>
          <p:cNvSpPr>
            <a:spLocks noChangeShapeType="1"/>
          </p:cNvSpPr>
          <p:nvPr/>
        </p:nvSpPr>
        <p:spPr bwMode="auto">
          <a:xfrm>
            <a:off x="6086718" y="5452158"/>
            <a:ext cx="5993337" cy="3139"/>
          </a:xfrm>
          <a:prstGeom prst="line">
            <a:avLst/>
          </a:prstGeom>
          <a:noFill/>
          <a:ln w="57150" cmpd="thickThin">
            <a:solidFill>
              <a:srgbClr val="0033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dirty="0">
              <a:solidFill>
                <a:srgbClr val="08080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9258" y="6614910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868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30670" y="6543522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7</a:t>
            </a:r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5297963" y="169265"/>
            <a:ext cx="68454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ТООТЧЕТ О РАБОТАХ ОСТАНОВОЧНОГО РЕМОНТА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733226" y="6222636"/>
            <a:ext cx="3411511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нен циркуляционный насос котла КУ-101</a:t>
            </a:r>
          </a:p>
          <a:p>
            <a:pPr>
              <a:spcAft>
                <a:spcPts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-160 (тип КГВ-160) на участке утилизации </a:t>
            </a:r>
          </a:p>
          <a:p>
            <a:pPr>
              <a:spcAft>
                <a:spcPts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пла дымовых газов ПППН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842047" y="3235845"/>
            <a:ext cx="3807453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нен циркуляционный насос котла КУ-201</a:t>
            </a:r>
          </a:p>
          <a:p>
            <a:pPr>
              <a:spcAft>
                <a:spcPts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-229 (тип КГВ-250)</a:t>
            </a:r>
          </a:p>
          <a:p>
            <a:pPr>
              <a:spcAft>
                <a:spcPts val="0"/>
              </a:spcAft>
            </a:pP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 участке утилизации тепла дымовых газов ПППН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7720857" y="6151301"/>
            <a:ext cx="4567276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лен новый насос подачи котловой питательной воды</a:t>
            </a:r>
          </a:p>
          <a:p>
            <a:pPr>
              <a:spcAft>
                <a:spcPts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ого давления Н-001С (</a:t>
            </a:r>
            <a:r>
              <a:rPr lang="en-US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PR50-4/10R</a:t>
            </a: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  <a:p>
            <a:pPr>
              <a:spcAft>
                <a:spcPts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ха ПВС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1648" y="3828662"/>
            <a:ext cx="3638797" cy="227317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1882" y="919058"/>
            <a:ext cx="3638797" cy="227317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6018" y="3879619"/>
            <a:ext cx="3369537" cy="227317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873" y="914232"/>
            <a:ext cx="3638797" cy="227317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Прямоугольник 15"/>
          <p:cNvSpPr/>
          <p:nvPr/>
        </p:nvSpPr>
        <p:spPr>
          <a:xfrm>
            <a:off x="7797319" y="3179036"/>
            <a:ext cx="3807453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нен питательный насос котла КУ-201</a:t>
            </a:r>
          </a:p>
          <a:p>
            <a:pPr>
              <a:spcAft>
                <a:spcPts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-22</a:t>
            </a:r>
            <a:r>
              <a:rPr lang="en-US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тип ПЭ65-53-С)</a:t>
            </a:r>
          </a:p>
          <a:p>
            <a:pPr>
              <a:spcAft>
                <a:spcPts val="0"/>
              </a:spcAft>
            </a:pP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 участке утилизации тепла дымовых газов ПППН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333640" y="3297489"/>
            <a:ext cx="323104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нен металлический ствол трубы отвода дымовых газов печей на установке замедленного коксования ППТНО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541" y="804153"/>
            <a:ext cx="2921175" cy="249333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541" y="3897653"/>
            <a:ext cx="2921175" cy="213519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0" name="Прямоугольник 19"/>
          <p:cNvSpPr/>
          <p:nvPr/>
        </p:nvSpPr>
        <p:spPr>
          <a:xfrm>
            <a:off x="312321" y="6054863"/>
            <a:ext cx="3302507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 ремонт футеровки, </a:t>
            </a:r>
          </a:p>
          <a:p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гнальная окраска ствола </a:t>
            </a:r>
          </a:p>
          <a:p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ымовой трубы </a:t>
            </a:r>
          </a:p>
          <a:p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установке производства битумов ППТНО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1671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9258" y="6527320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8</a:t>
            </a:r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6285349" y="151754"/>
            <a:ext cx="616889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ТООТЧЕТ 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ЕКУЩИХ ПЛАНОВЫХ РАБОТАХ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72073" y="3369873"/>
            <a:ext cx="354456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тикоррозионная обработка резервуара Р-5</a:t>
            </a:r>
          </a:p>
          <a:p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рк П 29-1 </a:t>
            </a:r>
            <a:r>
              <a:rPr lang="en-US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-20 000</a:t>
            </a: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</a:t>
            </a:r>
            <a:r>
              <a:rPr lang="ru-RU" sz="1400" b="1" baseline="30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РП ПКОН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428" y="934345"/>
            <a:ext cx="3658843" cy="240664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8110" y="940432"/>
            <a:ext cx="3294598" cy="2406643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4645529" y="3358504"/>
            <a:ext cx="354456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тикоррозионная обработка резервуара Р-4</a:t>
            </a:r>
          </a:p>
          <a:p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рк П 29-2 </a:t>
            </a:r>
            <a:r>
              <a:rPr lang="en-US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-</a:t>
            </a: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 000</a:t>
            </a: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</a:t>
            </a:r>
            <a:r>
              <a:rPr lang="ru-RU" sz="1400" b="1" baseline="30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РП ПКОН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672072" y="5927156"/>
            <a:ext cx="354456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нена дренажная заглубленная емкость</a:t>
            </a:r>
          </a:p>
          <a:p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иции Е-207 на установке гидроочистки </a:t>
            </a:r>
            <a:r>
              <a:rPr lang="ru-RU" sz="11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фты</a:t>
            </a: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ППН 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073" y="3829645"/>
            <a:ext cx="3658843" cy="201655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0512" y="3841979"/>
            <a:ext cx="3294598" cy="2029272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4645529" y="5952025"/>
            <a:ext cx="349164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нены дренажные заглубленные емкости</a:t>
            </a:r>
          </a:p>
          <a:p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иции Е-111, Е-112 на установке ЭЛОУ-АТ ПППН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8321964" y="3315600"/>
            <a:ext cx="3789472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транспортном блоке установки замедленного коксования ППТНО новый мостовой грейферный кран №3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8954" y="940613"/>
            <a:ext cx="3076002" cy="2368367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0045" y="3972226"/>
            <a:ext cx="3059628" cy="2029272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8321964" y="6057960"/>
            <a:ext cx="381122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 транспортном блоке установки замедленного коксования ППТНО продолжаются работы по наладке нового мостового грейферного крана №4</a:t>
            </a:r>
          </a:p>
        </p:txBody>
      </p:sp>
    </p:spTree>
    <p:extLst>
      <p:ext uri="{BB962C8B-B14F-4D97-AF65-F5344CB8AC3E}">
        <p14:creationId xmlns:p14="http://schemas.microsoft.com/office/powerpoint/2010/main" val="908936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868952" y="138483"/>
            <a:ext cx="83230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и проведение работ капитального ремонта 2023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209881" y="963407"/>
            <a:ext cx="591296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на многозонных термопар на Р-101/1,2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Т-1 ПГПН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35468" y="963407"/>
            <a:ext cx="629547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ка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иолисовых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сходомеров на производствах завода, 28 единиц (Программа учета топливного газа, замена средств учета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.баланс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др.)</a:t>
            </a: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DB1FE910-8E84-4104-B139-D99B384A88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4873112"/>
              </p:ext>
            </p:extLst>
          </p:nvPr>
        </p:nvGraphicFramePr>
        <p:xfrm>
          <a:off x="345775" y="4824352"/>
          <a:ext cx="5862552" cy="11192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72372">
                  <a:extLst>
                    <a:ext uri="{9D8B030D-6E8A-4147-A177-3AD203B41FA5}">
                      <a16:colId xmlns:a16="http://schemas.microsoft.com/office/drawing/2014/main" val="2095496789"/>
                    </a:ext>
                  </a:extLst>
                </a:gridCol>
                <a:gridCol w="868983">
                  <a:extLst>
                    <a:ext uri="{9D8B030D-6E8A-4147-A177-3AD203B41FA5}">
                      <a16:colId xmlns:a16="http://schemas.microsoft.com/office/drawing/2014/main" val="1763508021"/>
                    </a:ext>
                  </a:extLst>
                </a:gridCol>
                <a:gridCol w="888511">
                  <a:extLst>
                    <a:ext uri="{9D8B030D-6E8A-4147-A177-3AD203B41FA5}">
                      <a16:colId xmlns:a16="http://schemas.microsoft.com/office/drawing/2014/main" val="1823197646"/>
                    </a:ext>
                  </a:extLst>
                </a:gridCol>
                <a:gridCol w="1034970">
                  <a:extLst>
                    <a:ext uri="{9D8B030D-6E8A-4147-A177-3AD203B41FA5}">
                      <a16:colId xmlns:a16="http://schemas.microsoft.com/office/drawing/2014/main" val="33642543"/>
                    </a:ext>
                  </a:extLst>
                </a:gridCol>
                <a:gridCol w="1124580">
                  <a:extLst>
                    <a:ext uri="{9D8B030D-6E8A-4147-A177-3AD203B41FA5}">
                      <a16:colId xmlns:a16="http://schemas.microsoft.com/office/drawing/2014/main" val="856989273"/>
                    </a:ext>
                  </a:extLst>
                </a:gridCol>
                <a:gridCol w="973136">
                  <a:extLst>
                    <a:ext uri="{9D8B030D-6E8A-4147-A177-3AD203B41FA5}">
                      <a16:colId xmlns:a16="http://schemas.microsoft.com/office/drawing/2014/main" val="380497673"/>
                    </a:ext>
                  </a:extLst>
                </a:gridCol>
              </a:tblGrid>
              <a:tr h="293976">
                <a:tc gridSpan="6"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онтаж массовых расходомеров по учёту газа</a:t>
                      </a:r>
                      <a:endParaRPr lang="ru-RU" sz="105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8652627"/>
                  </a:ext>
                </a:extLst>
              </a:tr>
              <a:tr h="35169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ПППН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ПКОН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ПГПН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ППТНО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182880" algn="ct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СиОЗ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182880" lvl="0" indent="0" algn="ctr" defTabSz="914400" rtl="0" eaLnBrk="1" fontAlgn="auto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</a:rPr>
                        <a:t>     ПСН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2788760"/>
                  </a:ext>
                </a:extLst>
              </a:tr>
              <a:tr h="4735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612779"/>
                  </a:ext>
                </a:extLst>
              </a:tr>
            </a:tbl>
          </a:graphicData>
        </a:graphic>
      </p:graphicFrame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37" b="27971"/>
          <a:stretch/>
        </p:blipFill>
        <p:spPr>
          <a:xfrm>
            <a:off x="345775" y="2065331"/>
            <a:ext cx="2146216" cy="2309789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64"/>
          <a:stretch/>
        </p:blipFill>
        <p:spPr>
          <a:xfrm>
            <a:off x="2760611" y="2065331"/>
            <a:ext cx="3447717" cy="230978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4"/>
          <a:srcRect l="20810" r="24471"/>
          <a:stretch/>
        </p:blipFill>
        <p:spPr>
          <a:xfrm>
            <a:off x="6732396" y="2065331"/>
            <a:ext cx="1688123" cy="2309789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50279" y="2065330"/>
            <a:ext cx="3254441" cy="2309789"/>
          </a:xfrm>
          <a:prstGeom prst="rect">
            <a:avLst/>
          </a:prstGeom>
        </p:spPr>
      </p:pic>
      <p:graphicFrame>
        <p:nvGraphicFramePr>
          <p:cNvPr id="16" name="Таблица 15">
            <a:extLst>
              <a:ext uri="{FF2B5EF4-FFF2-40B4-BE49-F238E27FC236}">
                <a16:creationId xmlns:a16="http://schemas.microsoft.com/office/drawing/2014/main" id="{DB1FE910-8E84-4104-B139-D99B384A88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27472"/>
              </p:ext>
            </p:extLst>
          </p:nvPr>
        </p:nvGraphicFramePr>
        <p:xfrm>
          <a:off x="6732397" y="4830711"/>
          <a:ext cx="5072324" cy="10833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72860">
                  <a:extLst>
                    <a:ext uri="{9D8B030D-6E8A-4147-A177-3AD203B41FA5}">
                      <a16:colId xmlns:a16="http://schemas.microsoft.com/office/drawing/2014/main" val="2095496789"/>
                    </a:ext>
                  </a:extLst>
                </a:gridCol>
                <a:gridCol w="2399464">
                  <a:extLst>
                    <a:ext uri="{9D8B030D-6E8A-4147-A177-3AD203B41FA5}">
                      <a16:colId xmlns:a16="http://schemas.microsoft.com/office/drawing/2014/main" val="1763508021"/>
                    </a:ext>
                  </a:extLst>
                </a:gridCol>
              </a:tblGrid>
              <a:tr h="293976">
                <a:tc gridSpan="2"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мена многозонных</a:t>
                      </a:r>
                      <a:r>
                        <a:rPr lang="ru-RU" sz="1600" b="1" baseline="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термопар</a:t>
                      </a:r>
                      <a:endParaRPr lang="ru-RU" sz="105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8652627"/>
                  </a:ext>
                </a:extLst>
              </a:tr>
              <a:tr h="35169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</a:rPr>
                        <a:t>Р-101/1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</a:rPr>
                        <a:t>Р-101/2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2788760"/>
                  </a:ext>
                </a:extLst>
              </a:tr>
              <a:tr h="4377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612779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9</a:t>
            </a:fld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299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131</TotalTime>
  <Words>5646</Words>
  <Application>Microsoft Office PowerPoint</Application>
  <PresentationFormat>Широкоэкранный</PresentationFormat>
  <Paragraphs>1460</Paragraphs>
  <Slides>39</Slides>
  <Notes>1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9</vt:i4>
      </vt:variant>
    </vt:vector>
  </HeadingPairs>
  <TitlesOfParts>
    <vt:vector size="50" baseType="lpstr">
      <vt:lpstr>Arial</vt:lpstr>
      <vt:lpstr>Calibri</vt:lpstr>
      <vt:lpstr>Calibri Light</vt:lpstr>
      <vt:lpstr>Century Gothic</vt:lpstr>
      <vt:lpstr>Open Sans Light</vt:lpstr>
      <vt:lpstr>Symbol</vt:lpstr>
      <vt:lpstr>Tahoma</vt:lpstr>
      <vt:lpstr>Times New Roman</vt:lpstr>
      <vt:lpstr>Wingdings</vt:lpstr>
      <vt:lpstr>Тема Office</vt:lpstr>
      <vt:lpstr>Слайд think-cell</vt:lpstr>
      <vt:lpstr>Отчет по итогам работы ТОО «ПНХЗ»  за 2023 год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озюра Ольга Викторовна</dc:creator>
  <cp:lastModifiedBy>Еспаева Гульнара Кудайбергеновна</cp:lastModifiedBy>
  <cp:revision>465</cp:revision>
  <cp:lastPrinted>2023-01-26T08:57:46Z</cp:lastPrinted>
  <dcterms:created xsi:type="dcterms:W3CDTF">2022-08-12T02:43:43Z</dcterms:created>
  <dcterms:modified xsi:type="dcterms:W3CDTF">2024-05-15T11:38:41Z</dcterms:modified>
</cp:coreProperties>
</file>